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0" r:id="rId5"/>
  </p:sldMasterIdLst>
  <p:notesMasterIdLst>
    <p:notesMasterId r:id="rId18"/>
  </p:notesMasterIdLst>
  <p:handoutMasterIdLst>
    <p:handoutMasterId r:id="rId19"/>
  </p:handoutMasterIdLst>
  <p:sldIdLst>
    <p:sldId id="339" r:id="rId6"/>
    <p:sldId id="311" r:id="rId7"/>
    <p:sldId id="313" r:id="rId8"/>
    <p:sldId id="331" r:id="rId9"/>
    <p:sldId id="312" r:id="rId10"/>
    <p:sldId id="336" r:id="rId11"/>
    <p:sldId id="328" r:id="rId12"/>
    <p:sldId id="337" r:id="rId13"/>
    <p:sldId id="338" r:id="rId14"/>
    <p:sldId id="326" r:id="rId15"/>
    <p:sldId id="324" r:id="rId16"/>
    <p:sldId id="293" r:id="rId17"/>
  </p:sldIdLst>
  <p:sldSz cx="12192000" cy="6858000"/>
  <p:notesSz cx="6797675" cy="9928225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0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ochowski,Grzegorz,TORUN,HR" initials="G" lastIdx="2" clrIdx="0">
    <p:extLst>
      <p:ext uri="{19B8F6BF-5375-455C-9EA6-DF929625EA0E}">
        <p15:presenceInfo xmlns:p15="http://schemas.microsoft.com/office/powerpoint/2012/main" userId="S-1-5-21-1220945662-2111687655-725345543-151595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3B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yl jasny 2 — Ak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361" autoAdjust="0"/>
    <p:restoredTop sz="85790" autoAdjust="0"/>
  </p:normalViewPr>
  <p:slideViewPr>
    <p:cSldViewPr snapToGrid="0" showGuides="1">
      <p:cViewPr varScale="1">
        <p:scale>
          <a:sx n="116" d="100"/>
          <a:sy n="116" d="100"/>
        </p:scale>
        <p:origin x="372" y="114"/>
      </p:cViewPr>
      <p:guideLst>
        <p:guide orient="horz" pos="2409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58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D44F918-4FCF-4822-925F-3FCBB0EB429D}" type="doc">
      <dgm:prSet loTypeId="urn:microsoft.com/office/officeart/2005/8/layout/pyramid2" loCatId="pyramid" qsTypeId="urn:microsoft.com/office/officeart/2005/8/quickstyle/3d4" qsCatId="3D" csTypeId="urn:microsoft.com/office/officeart/2005/8/colors/colorful3" csCatId="colorful" phldr="1"/>
      <dgm:spPr/>
      <dgm:t>
        <a:bodyPr/>
        <a:lstStyle/>
        <a:p>
          <a:endParaRPr lang="pl-PL"/>
        </a:p>
      </dgm:t>
    </dgm:pt>
    <dgm:pt modelId="{8CC940A5-7E73-4FF1-8B4E-740D96CA61AF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just" rtl="0"/>
          <a:r>
            <a:rPr lang="pl-PL" sz="1700" kern="1200" dirty="0" smtClean="0">
              <a:solidFill>
                <a:srgbClr val="003B4B"/>
              </a:solidFill>
              <a:latin typeface="+mn-lt"/>
              <a:ea typeface="+mn-ea"/>
              <a:cs typeface="+mn-cs"/>
            </a:rPr>
            <a:t>Zapoznanie</a:t>
          </a:r>
          <a:r>
            <a:rPr lang="pl-PL" sz="1800" b="0" i="0" kern="1200" cap="none" baseline="0" dirty="0" smtClean="0">
              <a:latin typeface="+mj-lt"/>
              <a:cs typeface="Arial" panose="020B0604020202020204" pitchFamily="34" charset="0"/>
            </a:rPr>
            <a:t> Państwa z praktyczną pracą organizacji, produkującej płatki śniadaniowe oraz batony zbożowe jaką jest </a:t>
          </a:r>
          <a:r>
            <a:rPr lang="pl-PL" sz="1800" b="1" i="0" u="sng" kern="1200" cap="none" baseline="0" dirty="0" smtClean="0">
              <a:effectLst/>
              <a:latin typeface="+mj-lt"/>
              <a:cs typeface="Arial" panose="020B0604020202020204" pitchFamily="34" charset="0"/>
            </a:rPr>
            <a:t>CPP Toruń-Pacific.</a:t>
          </a:r>
          <a:endParaRPr lang="pl-PL" sz="1800" b="1" i="0" u="sng" kern="1200" cap="none" baseline="0" dirty="0">
            <a:effectLst/>
            <a:latin typeface="+mj-lt"/>
            <a:cs typeface="Arial" panose="020B0604020202020204" pitchFamily="34" charset="0"/>
          </a:endParaRPr>
        </a:p>
      </dgm:t>
    </dgm:pt>
    <dgm:pt modelId="{E8169838-BF79-416D-A043-49645053EC53}" type="parTrans" cxnId="{AB133478-C2F3-4456-B3B4-ACCFE116F547}">
      <dgm:prSet/>
      <dgm:spPr/>
      <dgm:t>
        <a:bodyPr/>
        <a:lstStyle/>
        <a:p>
          <a:endParaRPr lang="pl-PL" sz="1600" i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9D6FFBC-A600-42C8-8D27-86E0BA884960}" type="sibTrans" cxnId="{AB133478-C2F3-4456-B3B4-ACCFE116F547}">
      <dgm:prSet/>
      <dgm:spPr/>
      <dgm:t>
        <a:bodyPr/>
        <a:lstStyle/>
        <a:p>
          <a:endParaRPr lang="pl-PL" sz="1600" i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93B19DA-82D3-48A9-A643-6BE6575F2A23}">
      <dgm:prSet custT="1">
        <dgm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pPr algn="just" rtl="0"/>
          <a:r>
            <a:rPr lang="pl-PL" sz="1800" b="0" i="0" cap="none" baseline="0" dirty="0" smtClean="0">
              <a:latin typeface="+mj-lt"/>
              <a:cs typeface="Arial" panose="020B0604020202020204" pitchFamily="34" charset="0"/>
            </a:rPr>
            <a:t>Pokazanie naszych codziennych praktyk biznesowych.</a:t>
          </a:r>
          <a:endParaRPr lang="pl-PL" sz="1800" b="0" i="0" cap="none" baseline="0" dirty="0">
            <a:latin typeface="+mj-lt"/>
            <a:cs typeface="Arial" panose="020B0604020202020204" pitchFamily="34" charset="0"/>
          </a:endParaRPr>
        </a:p>
      </dgm:t>
    </dgm:pt>
    <dgm:pt modelId="{DC1D855F-09DC-4313-8D73-F176D0C32C37}" type="parTrans" cxnId="{52DE40D9-8E16-4B80-8A13-BEF451140A69}">
      <dgm:prSet/>
      <dgm:spPr/>
      <dgm:t>
        <a:bodyPr/>
        <a:lstStyle/>
        <a:p>
          <a:endParaRPr lang="pl-PL" sz="1600" i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4473547-597A-4DAD-9DE6-C7C325BB8464}" type="sibTrans" cxnId="{52DE40D9-8E16-4B80-8A13-BEF451140A69}">
      <dgm:prSet/>
      <dgm:spPr/>
      <dgm:t>
        <a:bodyPr/>
        <a:lstStyle/>
        <a:p>
          <a:endParaRPr lang="pl-PL" sz="1600" i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ECB84B6-19AE-45A2-B25F-88F583A73FC3}">
      <dgm:prSet custT="1"/>
      <dgm:spPr/>
      <dgm:t>
        <a:bodyPr/>
        <a:lstStyle/>
        <a:p>
          <a:pPr algn="just" rtl="0"/>
          <a:r>
            <a:rPr lang="pl-PL" sz="1800" b="0" i="0" cap="none" baseline="0" dirty="0" smtClean="0">
              <a:latin typeface="+mj-lt"/>
              <a:cs typeface="Arial" panose="020B0604020202020204" pitchFamily="34" charset="0"/>
            </a:rPr>
            <a:t>Przedstawienie konkretnych wyzwań stawianych przed naszymi pracownikami.</a:t>
          </a:r>
          <a:endParaRPr lang="pl-PL" sz="1800" b="0" i="0" cap="none" baseline="0" dirty="0">
            <a:latin typeface="+mj-lt"/>
            <a:cs typeface="Arial" panose="020B0604020202020204" pitchFamily="34" charset="0"/>
          </a:endParaRPr>
        </a:p>
      </dgm:t>
    </dgm:pt>
    <dgm:pt modelId="{C50F34BE-81F6-4C75-8F13-73E764A02914}" type="parTrans" cxnId="{33CA24D0-2780-4F21-8943-D8C1BC844DBB}">
      <dgm:prSet/>
      <dgm:spPr/>
      <dgm:t>
        <a:bodyPr/>
        <a:lstStyle/>
        <a:p>
          <a:endParaRPr lang="pl-PL" sz="1600" i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703E71A-8CCE-4743-A533-FB794B3062D2}" type="sibTrans" cxnId="{33CA24D0-2780-4F21-8943-D8C1BC844DBB}">
      <dgm:prSet/>
      <dgm:spPr/>
      <dgm:t>
        <a:bodyPr/>
        <a:lstStyle/>
        <a:p>
          <a:endParaRPr lang="pl-PL" sz="1600" i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8D5B2DD-832C-47B2-8A3D-D028D80F3CDE}">
      <dgm:prSet custT="1"/>
      <dgm:spPr/>
      <dgm:t>
        <a:bodyPr/>
        <a:lstStyle/>
        <a:p>
          <a:pPr algn="just" rtl="0"/>
          <a:r>
            <a:rPr lang="pl-PL" sz="1800" b="0" dirty="0" smtClean="0"/>
            <a:t>Umożliwienie młodym osobom zdobycia praktycznej wiedzy oraz doświadczenia biznesowego.</a:t>
          </a:r>
          <a:endParaRPr lang="pl-PL" sz="1800" b="0" i="0" cap="none" baseline="0" dirty="0">
            <a:latin typeface="+mj-lt"/>
            <a:cs typeface="Arial" panose="020B0604020202020204" pitchFamily="34" charset="0"/>
          </a:endParaRPr>
        </a:p>
      </dgm:t>
    </dgm:pt>
    <dgm:pt modelId="{CBD5F08C-245E-4F71-86BA-398A78D7F80A}" type="parTrans" cxnId="{BA0D1F04-C2ED-4379-A712-D814FFFBB77B}">
      <dgm:prSet/>
      <dgm:spPr/>
      <dgm:t>
        <a:bodyPr/>
        <a:lstStyle/>
        <a:p>
          <a:endParaRPr lang="pl-PL"/>
        </a:p>
      </dgm:t>
    </dgm:pt>
    <dgm:pt modelId="{FE86CBAC-A4ED-435F-93D0-892FCC6B0D1C}" type="sibTrans" cxnId="{BA0D1F04-C2ED-4379-A712-D814FFFBB77B}">
      <dgm:prSet/>
      <dgm:spPr/>
      <dgm:t>
        <a:bodyPr/>
        <a:lstStyle/>
        <a:p>
          <a:endParaRPr lang="pl-PL"/>
        </a:p>
      </dgm:t>
    </dgm:pt>
    <dgm:pt modelId="{7C3C6B9A-50FE-425D-805D-0EFA9674AF09}">
      <dgm:prSet custT="1"/>
      <dgm:spPr/>
      <dgm:t>
        <a:bodyPr/>
        <a:lstStyle/>
        <a:p>
          <a:pPr algn="just" rtl="0"/>
          <a:r>
            <a:rPr lang="pl-PL" sz="1800" b="0" dirty="0" smtClean="0"/>
            <a:t>Przygotowanie do poszukiwania pracy jako dobry start w życiu zawodowym. </a:t>
          </a:r>
          <a:endParaRPr lang="pl-PL" sz="1800" b="0" i="0" cap="none" baseline="0" dirty="0">
            <a:latin typeface="+mj-lt"/>
            <a:cs typeface="Arial" panose="020B0604020202020204" pitchFamily="34" charset="0"/>
          </a:endParaRPr>
        </a:p>
      </dgm:t>
    </dgm:pt>
    <dgm:pt modelId="{B8F4C609-BB4A-4EE9-AD85-01AFADB0172F}" type="parTrans" cxnId="{8457ABE5-8D6E-4897-BC0A-FE421BF7FC80}">
      <dgm:prSet/>
      <dgm:spPr/>
      <dgm:t>
        <a:bodyPr/>
        <a:lstStyle/>
        <a:p>
          <a:endParaRPr lang="pl-PL"/>
        </a:p>
      </dgm:t>
    </dgm:pt>
    <dgm:pt modelId="{DDE91B06-F97D-403E-A39F-54B63C786C43}" type="sibTrans" cxnId="{8457ABE5-8D6E-4897-BC0A-FE421BF7FC80}">
      <dgm:prSet/>
      <dgm:spPr/>
      <dgm:t>
        <a:bodyPr/>
        <a:lstStyle/>
        <a:p>
          <a:endParaRPr lang="pl-PL"/>
        </a:p>
      </dgm:t>
    </dgm:pt>
    <dgm:pt modelId="{1C9C1807-F625-44FA-9697-FF8C674CD54A}" type="pres">
      <dgm:prSet presAssocID="{8D44F918-4FCF-4822-925F-3FCBB0EB429D}" presName="compositeShape" presStyleCnt="0">
        <dgm:presLayoutVars>
          <dgm:dir/>
          <dgm:resizeHandles/>
        </dgm:presLayoutVars>
      </dgm:prSet>
      <dgm:spPr/>
      <dgm:t>
        <a:bodyPr/>
        <a:lstStyle/>
        <a:p>
          <a:endParaRPr lang="pl-PL"/>
        </a:p>
      </dgm:t>
    </dgm:pt>
    <dgm:pt modelId="{83CA42BA-BC9C-4035-9342-2BA52DC81E3C}" type="pres">
      <dgm:prSet presAssocID="{8D44F918-4FCF-4822-925F-3FCBB0EB429D}" presName="pyramid" presStyleLbl="node1" presStyleIdx="0" presStyleCnt="1" custLinFactNeighborX="-49231"/>
      <dgm:spPr/>
      <dgm:t>
        <a:bodyPr/>
        <a:lstStyle/>
        <a:p>
          <a:endParaRPr lang="pl-PL"/>
        </a:p>
      </dgm:t>
    </dgm:pt>
    <dgm:pt modelId="{DDB65332-4C91-4A31-A79E-3856DD76ED0C}" type="pres">
      <dgm:prSet presAssocID="{8D44F918-4FCF-4822-925F-3FCBB0EB429D}" presName="theList" presStyleCnt="0"/>
      <dgm:spPr/>
      <dgm:t>
        <a:bodyPr/>
        <a:lstStyle/>
        <a:p>
          <a:endParaRPr lang="pl-PL"/>
        </a:p>
      </dgm:t>
    </dgm:pt>
    <dgm:pt modelId="{2DA3F165-ACCD-4431-997F-2C6E6E0E3D4E}" type="pres">
      <dgm:prSet presAssocID="{8CC940A5-7E73-4FF1-8B4E-740D96CA61AF}" presName="aNode" presStyleLbl="fgAcc1" presStyleIdx="0" presStyleCnt="5" custScaleX="200612" custScaleY="137587" custLinFactNeighborX="25443" custLinFactNeighborY="-14813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C0575A7-531E-4C4D-8561-E6B712EE0129}" type="pres">
      <dgm:prSet presAssocID="{8CC940A5-7E73-4FF1-8B4E-740D96CA61AF}" presName="aSpace" presStyleCnt="0"/>
      <dgm:spPr/>
      <dgm:t>
        <a:bodyPr/>
        <a:lstStyle/>
        <a:p>
          <a:endParaRPr lang="pl-PL"/>
        </a:p>
      </dgm:t>
    </dgm:pt>
    <dgm:pt modelId="{691DB27B-F740-48CD-A363-3D8836ECD6DF}" type="pres">
      <dgm:prSet presAssocID="{F93B19DA-82D3-48A9-A643-6BE6575F2A23}" presName="aNode" presStyleLbl="fgAcc1" presStyleIdx="1" presStyleCnt="5" custScaleX="198374" custLinFactNeighborX="25443" custLinFactNeighborY="-4937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41BA25C8-AD06-40BA-B8C8-9F3D93C482A1}" type="pres">
      <dgm:prSet presAssocID="{F93B19DA-82D3-48A9-A643-6BE6575F2A23}" presName="aSpace" presStyleCnt="0"/>
      <dgm:spPr/>
      <dgm:t>
        <a:bodyPr/>
        <a:lstStyle/>
        <a:p>
          <a:endParaRPr lang="pl-PL"/>
        </a:p>
      </dgm:t>
    </dgm:pt>
    <dgm:pt modelId="{521E3280-19A8-4622-AB22-168ADD1DE640}" type="pres">
      <dgm:prSet presAssocID="{CECB84B6-19AE-45A2-B25F-88F583A73FC3}" presName="aNode" presStyleLbl="fgAcc1" presStyleIdx="2" presStyleCnt="5" custScaleX="198374" custLinFactNeighborX="25443" custLinFactNeighborY="4938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7DE516E9-C40D-4D01-9C99-B0766B39C8B3}" type="pres">
      <dgm:prSet presAssocID="{CECB84B6-19AE-45A2-B25F-88F583A73FC3}" presName="aSpace" presStyleCnt="0"/>
      <dgm:spPr/>
      <dgm:t>
        <a:bodyPr/>
        <a:lstStyle/>
        <a:p>
          <a:endParaRPr lang="pl-PL"/>
        </a:p>
      </dgm:t>
    </dgm:pt>
    <dgm:pt modelId="{FBBAEDAA-A03A-43A3-AED1-B95F2DA3AB86}" type="pres">
      <dgm:prSet presAssocID="{88D5B2DD-832C-47B2-8A3D-D028D80F3CDE}" presName="aNode" presStyleLbl="fgAcc1" presStyleIdx="3" presStyleCnt="5" custScaleX="198400" custScaleY="126351" custLinFactNeighborX="26211" custLinFactNeighborY="-14981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E1AA119-9313-4755-8DB2-36EEF71CFD1B}" type="pres">
      <dgm:prSet presAssocID="{88D5B2DD-832C-47B2-8A3D-D028D80F3CDE}" presName="aSpace" presStyleCnt="0"/>
      <dgm:spPr/>
      <dgm:t>
        <a:bodyPr/>
        <a:lstStyle/>
        <a:p>
          <a:endParaRPr lang="en-US"/>
        </a:p>
      </dgm:t>
    </dgm:pt>
    <dgm:pt modelId="{5A1E2AFF-B6B4-49EB-BE5B-EC8CA26C96A5}" type="pres">
      <dgm:prSet presAssocID="{7C3C6B9A-50FE-425D-805D-0EFA9674AF09}" presName="aNode" presStyleLbl="fgAcc1" presStyleIdx="4" presStyleCnt="5" custScaleX="199753" custLinFactNeighborX="25873" custLinFactNeighborY="-21069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3A89A60-9C7A-4BCC-8B61-6306F6B9FE8D}" type="pres">
      <dgm:prSet presAssocID="{7C3C6B9A-50FE-425D-805D-0EFA9674AF09}" presName="aSpace" presStyleCnt="0"/>
      <dgm:spPr/>
      <dgm:t>
        <a:bodyPr/>
        <a:lstStyle/>
        <a:p>
          <a:endParaRPr lang="en-US"/>
        </a:p>
      </dgm:t>
    </dgm:pt>
  </dgm:ptLst>
  <dgm:cxnLst>
    <dgm:cxn modelId="{C37A1A8B-66B6-468D-8ACE-FB01B4DB1C22}" type="presOf" srcId="{CECB84B6-19AE-45A2-B25F-88F583A73FC3}" destId="{521E3280-19A8-4622-AB22-168ADD1DE640}" srcOrd="0" destOrd="0" presId="urn:microsoft.com/office/officeart/2005/8/layout/pyramid2"/>
    <dgm:cxn modelId="{6C252B77-F1EF-4875-9D88-63589399E9FF}" type="presOf" srcId="{8D44F918-4FCF-4822-925F-3FCBB0EB429D}" destId="{1C9C1807-F625-44FA-9697-FF8C674CD54A}" srcOrd="0" destOrd="0" presId="urn:microsoft.com/office/officeart/2005/8/layout/pyramid2"/>
    <dgm:cxn modelId="{C1A66C9F-2E4D-4788-97DB-2FE089C7B0C9}" type="presOf" srcId="{7C3C6B9A-50FE-425D-805D-0EFA9674AF09}" destId="{5A1E2AFF-B6B4-49EB-BE5B-EC8CA26C96A5}" srcOrd="0" destOrd="0" presId="urn:microsoft.com/office/officeart/2005/8/layout/pyramid2"/>
    <dgm:cxn modelId="{BA0D1F04-C2ED-4379-A712-D814FFFBB77B}" srcId="{8D44F918-4FCF-4822-925F-3FCBB0EB429D}" destId="{88D5B2DD-832C-47B2-8A3D-D028D80F3CDE}" srcOrd="3" destOrd="0" parTransId="{CBD5F08C-245E-4F71-86BA-398A78D7F80A}" sibTransId="{FE86CBAC-A4ED-435F-93D0-892FCC6B0D1C}"/>
    <dgm:cxn modelId="{AB133478-C2F3-4456-B3B4-ACCFE116F547}" srcId="{8D44F918-4FCF-4822-925F-3FCBB0EB429D}" destId="{8CC940A5-7E73-4FF1-8B4E-740D96CA61AF}" srcOrd="0" destOrd="0" parTransId="{E8169838-BF79-416D-A043-49645053EC53}" sibTransId="{C9D6FFBC-A600-42C8-8D27-86E0BA884960}"/>
    <dgm:cxn modelId="{33CA24D0-2780-4F21-8943-D8C1BC844DBB}" srcId="{8D44F918-4FCF-4822-925F-3FCBB0EB429D}" destId="{CECB84B6-19AE-45A2-B25F-88F583A73FC3}" srcOrd="2" destOrd="0" parTransId="{C50F34BE-81F6-4C75-8F13-73E764A02914}" sibTransId="{2703E71A-8CCE-4743-A533-FB794B3062D2}"/>
    <dgm:cxn modelId="{52DE40D9-8E16-4B80-8A13-BEF451140A69}" srcId="{8D44F918-4FCF-4822-925F-3FCBB0EB429D}" destId="{F93B19DA-82D3-48A9-A643-6BE6575F2A23}" srcOrd="1" destOrd="0" parTransId="{DC1D855F-09DC-4313-8D73-F176D0C32C37}" sibTransId="{D4473547-597A-4DAD-9DE6-C7C325BB8464}"/>
    <dgm:cxn modelId="{7EC07BAF-BABE-4229-A4E6-AC31D84F43A8}" type="presOf" srcId="{8CC940A5-7E73-4FF1-8B4E-740D96CA61AF}" destId="{2DA3F165-ACCD-4431-997F-2C6E6E0E3D4E}" srcOrd="0" destOrd="0" presId="urn:microsoft.com/office/officeart/2005/8/layout/pyramid2"/>
    <dgm:cxn modelId="{8457ABE5-8D6E-4897-BC0A-FE421BF7FC80}" srcId="{8D44F918-4FCF-4822-925F-3FCBB0EB429D}" destId="{7C3C6B9A-50FE-425D-805D-0EFA9674AF09}" srcOrd="4" destOrd="0" parTransId="{B8F4C609-BB4A-4EE9-AD85-01AFADB0172F}" sibTransId="{DDE91B06-F97D-403E-A39F-54B63C786C43}"/>
    <dgm:cxn modelId="{6AC11298-0A93-4E9C-A5B1-F53DAC35EB6E}" type="presOf" srcId="{F93B19DA-82D3-48A9-A643-6BE6575F2A23}" destId="{691DB27B-F740-48CD-A363-3D8836ECD6DF}" srcOrd="0" destOrd="0" presId="urn:microsoft.com/office/officeart/2005/8/layout/pyramid2"/>
    <dgm:cxn modelId="{5DBC0C90-6893-47B3-ABCC-B92C37E2B5AC}" type="presOf" srcId="{88D5B2DD-832C-47B2-8A3D-D028D80F3CDE}" destId="{FBBAEDAA-A03A-43A3-AED1-B95F2DA3AB86}" srcOrd="0" destOrd="0" presId="urn:microsoft.com/office/officeart/2005/8/layout/pyramid2"/>
    <dgm:cxn modelId="{FA78CF26-7134-4ACD-9783-54368699E4C3}" type="presParOf" srcId="{1C9C1807-F625-44FA-9697-FF8C674CD54A}" destId="{83CA42BA-BC9C-4035-9342-2BA52DC81E3C}" srcOrd="0" destOrd="0" presId="urn:microsoft.com/office/officeart/2005/8/layout/pyramid2"/>
    <dgm:cxn modelId="{F781EAB0-3266-4417-9E9D-A714C4DAD3F0}" type="presParOf" srcId="{1C9C1807-F625-44FA-9697-FF8C674CD54A}" destId="{DDB65332-4C91-4A31-A79E-3856DD76ED0C}" srcOrd="1" destOrd="0" presId="urn:microsoft.com/office/officeart/2005/8/layout/pyramid2"/>
    <dgm:cxn modelId="{2D172868-75CF-4C9B-8F8C-C0FEAB0D510D}" type="presParOf" srcId="{DDB65332-4C91-4A31-A79E-3856DD76ED0C}" destId="{2DA3F165-ACCD-4431-997F-2C6E6E0E3D4E}" srcOrd="0" destOrd="0" presId="urn:microsoft.com/office/officeart/2005/8/layout/pyramid2"/>
    <dgm:cxn modelId="{944C6BCD-2107-4D05-9B46-0CA99C203EEA}" type="presParOf" srcId="{DDB65332-4C91-4A31-A79E-3856DD76ED0C}" destId="{3C0575A7-531E-4C4D-8561-E6B712EE0129}" srcOrd="1" destOrd="0" presId="urn:microsoft.com/office/officeart/2005/8/layout/pyramid2"/>
    <dgm:cxn modelId="{FEC9552B-6A25-47F1-B8D5-6B22ADE3ACD3}" type="presParOf" srcId="{DDB65332-4C91-4A31-A79E-3856DD76ED0C}" destId="{691DB27B-F740-48CD-A363-3D8836ECD6DF}" srcOrd="2" destOrd="0" presId="urn:microsoft.com/office/officeart/2005/8/layout/pyramid2"/>
    <dgm:cxn modelId="{95E2EBFA-B022-4D75-8F8A-55335CA67E6E}" type="presParOf" srcId="{DDB65332-4C91-4A31-A79E-3856DD76ED0C}" destId="{41BA25C8-AD06-40BA-B8C8-9F3D93C482A1}" srcOrd="3" destOrd="0" presId="urn:microsoft.com/office/officeart/2005/8/layout/pyramid2"/>
    <dgm:cxn modelId="{C1F763DC-F3AC-4401-BF2C-DA200820C479}" type="presParOf" srcId="{DDB65332-4C91-4A31-A79E-3856DD76ED0C}" destId="{521E3280-19A8-4622-AB22-168ADD1DE640}" srcOrd="4" destOrd="0" presId="urn:microsoft.com/office/officeart/2005/8/layout/pyramid2"/>
    <dgm:cxn modelId="{35CAA1D0-E2AC-4486-ACFF-05FE22A19B6D}" type="presParOf" srcId="{DDB65332-4C91-4A31-A79E-3856DD76ED0C}" destId="{7DE516E9-C40D-4D01-9C99-B0766B39C8B3}" srcOrd="5" destOrd="0" presId="urn:microsoft.com/office/officeart/2005/8/layout/pyramid2"/>
    <dgm:cxn modelId="{50864A45-B419-478E-BBBA-8493CAC9B95B}" type="presParOf" srcId="{DDB65332-4C91-4A31-A79E-3856DD76ED0C}" destId="{FBBAEDAA-A03A-43A3-AED1-B95F2DA3AB86}" srcOrd="6" destOrd="0" presId="urn:microsoft.com/office/officeart/2005/8/layout/pyramid2"/>
    <dgm:cxn modelId="{652E3CC9-E85A-4824-8AB4-10732E499D89}" type="presParOf" srcId="{DDB65332-4C91-4A31-A79E-3856DD76ED0C}" destId="{5E1AA119-9313-4755-8DB2-36EEF71CFD1B}" srcOrd="7" destOrd="0" presId="urn:microsoft.com/office/officeart/2005/8/layout/pyramid2"/>
    <dgm:cxn modelId="{4B4D993F-DE08-4B7C-B559-F7B87F434F12}" type="presParOf" srcId="{DDB65332-4C91-4A31-A79E-3856DD76ED0C}" destId="{5A1E2AFF-B6B4-49EB-BE5B-EC8CA26C96A5}" srcOrd="8" destOrd="0" presId="urn:microsoft.com/office/officeart/2005/8/layout/pyramid2"/>
    <dgm:cxn modelId="{3F5B399C-F2C8-48F2-AF4E-F61F60B89714}" type="presParOf" srcId="{DDB65332-4C91-4A31-A79E-3856DD76ED0C}" destId="{53A89A60-9C7A-4BCC-8B61-6306F6B9FE8D}" srcOrd="9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A925178-CD75-4076-9F75-96EF2B188E5A}" type="doc">
      <dgm:prSet loTypeId="urn:microsoft.com/office/officeart/2008/layout/VerticalCurvedList" loCatId="list" qsTypeId="urn:microsoft.com/office/officeart/2005/8/quickstyle/3d3" qsCatId="3D" csTypeId="urn:microsoft.com/office/officeart/2005/8/colors/accent0_2" csCatId="mainScheme" phldr="1"/>
      <dgm:spPr/>
      <dgm:t>
        <a:bodyPr/>
        <a:lstStyle/>
        <a:p>
          <a:endParaRPr lang="en-US"/>
        </a:p>
      </dgm:t>
    </dgm:pt>
    <dgm:pt modelId="{03D91996-1204-4F14-B78A-6D1F16A1E2A6}">
      <dgm:prSet custT="1"/>
      <dgm:spPr/>
      <dgm:t>
        <a:bodyPr/>
        <a:lstStyle/>
        <a:p>
          <a:pPr rtl="0"/>
          <a:r>
            <a:rPr lang="pl-PL" sz="1200" b="1" dirty="0" smtClean="0"/>
            <a:t>1899</a:t>
          </a:r>
          <a:r>
            <a:rPr lang="pl-PL" sz="1200" dirty="0" smtClean="0"/>
            <a:t> </a:t>
          </a:r>
          <a:r>
            <a:rPr lang="pl-PL" sz="1100" dirty="0" smtClean="0"/>
            <a:t>	</a:t>
          </a:r>
          <a:r>
            <a:rPr lang="pl-PL" sz="1200" dirty="0" smtClean="0"/>
            <a:t>Utworzenie krochmalni w Toruniu</a:t>
          </a:r>
          <a:endParaRPr lang="en-US" sz="1100" dirty="0"/>
        </a:p>
      </dgm:t>
    </dgm:pt>
    <dgm:pt modelId="{7BA85E31-DA0D-4284-96FF-09A5AAEF5073}" type="parTrans" cxnId="{C0714406-8626-4020-8017-3DEA851E2C44}">
      <dgm:prSet/>
      <dgm:spPr/>
      <dgm:t>
        <a:bodyPr/>
        <a:lstStyle/>
        <a:p>
          <a:endParaRPr lang="en-US"/>
        </a:p>
      </dgm:t>
    </dgm:pt>
    <dgm:pt modelId="{09066845-39AA-4355-A9B1-CDF8DEE6985F}" type="sibTrans" cxnId="{C0714406-8626-4020-8017-3DEA851E2C44}">
      <dgm:prSet/>
      <dgm:spPr/>
      <dgm:t>
        <a:bodyPr/>
        <a:lstStyle/>
        <a:p>
          <a:endParaRPr lang="en-US"/>
        </a:p>
      </dgm:t>
    </dgm:pt>
    <dgm:pt modelId="{E6C44771-39A8-4394-8CFA-AD6FD2F52019}">
      <dgm:prSet custT="1"/>
      <dgm:spPr/>
      <dgm:t>
        <a:bodyPr/>
        <a:lstStyle/>
        <a:p>
          <a:pPr rtl="0"/>
          <a:r>
            <a:rPr lang="pl-PL" sz="1200" b="1" dirty="0" smtClean="0"/>
            <a:t>1977</a:t>
          </a:r>
          <a:r>
            <a:rPr lang="pl-PL" sz="1200" dirty="0" smtClean="0"/>
            <a:t>   </a:t>
          </a:r>
          <a:r>
            <a:rPr lang="pl-PL" sz="1100" dirty="0" smtClean="0"/>
            <a:t>	</a:t>
          </a:r>
          <a:r>
            <a:rPr lang="pl-PL" sz="1200" dirty="0" smtClean="0"/>
            <a:t>Pierwsza produkcja płatków 	kukurydzianych w Polsce (</a:t>
          </a:r>
          <a:r>
            <a:rPr lang="pl-PL" sz="1200" dirty="0" err="1" smtClean="0"/>
            <a:t>Corn</a:t>
          </a:r>
          <a:r>
            <a:rPr lang="pl-PL" sz="1200" dirty="0" smtClean="0"/>
            <a:t> </a:t>
          </a:r>
          <a:r>
            <a:rPr lang="pl-PL" sz="1200" dirty="0" err="1" smtClean="0"/>
            <a:t>Flakes</a:t>
          </a:r>
          <a:r>
            <a:rPr lang="pl-PL" sz="1200" dirty="0" smtClean="0"/>
            <a:t>)</a:t>
          </a:r>
          <a:endParaRPr lang="en-US" sz="1200" dirty="0"/>
        </a:p>
      </dgm:t>
    </dgm:pt>
    <dgm:pt modelId="{86A333D0-E7F0-417C-8B44-494BA8CE94BC}" type="parTrans" cxnId="{99C656B7-4242-4517-AF72-BF8AAFE007B2}">
      <dgm:prSet/>
      <dgm:spPr/>
      <dgm:t>
        <a:bodyPr/>
        <a:lstStyle/>
        <a:p>
          <a:endParaRPr lang="en-US"/>
        </a:p>
      </dgm:t>
    </dgm:pt>
    <dgm:pt modelId="{A3B106CC-2907-4931-93A2-3849D5B35BAD}" type="sibTrans" cxnId="{99C656B7-4242-4517-AF72-BF8AAFE007B2}">
      <dgm:prSet/>
      <dgm:spPr/>
      <dgm:t>
        <a:bodyPr/>
        <a:lstStyle/>
        <a:p>
          <a:endParaRPr lang="en-US"/>
        </a:p>
      </dgm:t>
    </dgm:pt>
    <dgm:pt modelId="{FCC36C03-7401-4254-8AA9-ABFFE711650D}">
      <dgm:prSet custT="1"/>
      <dgm:spPr/>
      <dgm:t>
        <a:bodyPr/>
        <a:lstStyle/>
        <a:p>
          <a:pPr rtl="0"/>
          <a:r>
            <a:rPr lang="pl-PL" sz="1200" b="1" dirty="0" smtClean="0"/>
            <a:t>1990</a:t>
          </a:r>
          <a:r>
            <a:rPr lang="pl-PL" sz="1100" dirty="0" smtClean="0"/>
            <a:t>	</a:t>
          </a:r>
          <a:r>
            <a:rPr lang="pl-PL" sz="1200" dirty="0" smtClean="0"/>
            <a:t>Prywatyzacja Przedsiębiorstwa 	Przemysłu Ziemniaczanego, 	powstanie Toruń-Pacific sp. z o.o. 	(</a:t>
          </a:r>
          <a:r>
            <a:rPr lang="pl-PL" sz="1200" dirty="0" err="1" smtClean="0"/>
            <a:t>j.v</a:t>
          </a:r>
          <a:r>
            <a:rPr lang="pl-PL" sz="1200" dirty="0" smtClean="0"/>
            <a:t>.)</a:t>
          </a:r>
          <a:endParaRPr lang="en-US" sz="1200" dirty="0"/>
        </a:p>
      </dgm:t>
    </dgm:pt>
    <dgm:pt modelId="{CA01736D-D90F-4379-8792-211B0ABC100A}" type="parTrans" cxnId="{87A55F1B-9583-4AA5-B32B-3E8DBBCE6F1E}">
      <dgm:prSet/>
      <dgm:spPr/>
      <dgm:t>
        <a:bodyPr/>
        <a:lstStyle/>
        <a:p>
          <a:endParaRPr lang="en-US"/>
        </a:p>
      </dgm:t>
    </dgm:pt>
    <dgm:pt modelId="{F32D3EED-2E26-4607-B107-765026B12F3F}" type="sibTrans" cxnId="{87A55F1B-9583-4AA5-B32B-3E8DBBCE6F1E}">
      <dgm:prSet/>
      <dgm:spPr/>
      <dgm:t>
        <a:bodyPr/>
        <a:lstStyle/>
        <a:p>
          <a:endParaRPr lang="en-US"/>
        </a:p>
      </dgm:t>
    </dgm:pt>
    <dgm:pt modelId="{06AD5670-D1E6-417D-9E78-867FA075D308}">
      <dgm:prSet custT="1"/>
      <dgm:spPr/>
      <dgm:t>
        <a:bodyPr/>
        <a:lstStyle/>
        <a:p>
          <a:pPr rtl="0"/>
          <a:r>
            <a:rPr lang="pl-PL" sz="1200" b="1" dirty="0" smtClean="0"/>
            <a:t>1994</a:t>
          </a:r>
          <a:r>
            <a:rPr lang="pl-PL" sz="1200" dirty="0" smtClean="0"/>
            <a:t> </a:t>
          </a:r>
          <a:r>
            <a:rPr lang="pl-PL" sz="1300" dirty="0" smtClean="0"/>
            <a:t>	</a:t>
          </a:r>
          <a:r>
            <a:rPr lang="pl-PL" sz="1200" dirty="0" smtClean="0"/>
            <a:t>Toruń-Pacific kupują Nestle and 	General </a:t>
          </a:r>
          <a:r>
            <a:rPr lang="pl-PL" sz="1200" dirty="0" err="1" smtClean="0"/>
            <a:t>Mills</a:t>
          </a:r>
          <a:r>
            <a:rPr lang="pl-PL" sz="1200" dirty="0" smtClean="0"/>
            <a:t> (CPW),zmiana nazwy</a:t>
          </a:r>
          <a:endParaRPr lang="en-US" sz="1200" dirty="0"/>
        </a:p>
      </dgm:t>
    </dgm:pt>
    <dgm:pt modelId="{18BD9A05-EA5F-41DE-A17C-2CA81572AD4A}" type="parTrans" cxnId="{DF0D3861-877D-4D7B-9372-9684A978D1FE}">
      <dgm:prSet/>
      <dgm:spPr/>
      <dgm:t>
        <a:bodyPr/>
        <a:lstStyle/>
        <a:p>
          <a:endParaRPr lang="en-US"/>
        </a:p>
      </dgm:t>
    </dgm:pt>
    <dgm:pt modelId="{33D5EDBE-CC06-48BD-B264-8E4DDC0CB60F}" type="sibTrans" cxnId="{DF0D3861-877D-4D7B-9372-9684A978D1FE}">
      <dgm:prSet/>
      <dgm:spPr/>
      <dgm:t>
        <a:bodyPr/>
        <a:lstStyle/>
        <a:p>
          <a:endParaRPr lang="en-US"/>
        </a:p>
      </dgm:t>
    </dgm:pt>
    <dgm:pt modelId="{3BECE36C-50DE-481F-95B8-6825D79EBC93}">
      <dgm:prSet custT="1"/>
      <dgm:spPr/>
      <dgm:t>
        <a:bodyPr/>
        <a:lstStyle/>
        <a:p>
          <a:pPr rtl="0"/>
          <a:r>
            <a:rPr lang="pl-PL" sz="1200" b="1" dirty="0" smtClean="0"/>
            <a:t>2004</a:t>
          </a:r>
          <a:r>
            <a:rPr lang="pl-PL" sz="1200" dirty="0" smtClean="0"/>
            <a:t> </a:t>
          </a:r>
          <a:r>
            <a:rPr lang="pl-PL" sz="1600" dirty="0" smtClean="0"/>
            <a:t>	</a:t>
          </a:r>
          <a:r>
            <a:rPr lang="pl-PL" sz="1200" dirty="0" smtClean="0"/>
            <a:t>Powołanie Regionu CPW Europa 	Centralna z siedzibą w Toruniu</a:t>
          </a:r>
          <a:endParaRPr lang="en-US" sz="1600" dirty="0"/>
        </a:p>
      </dgm:t>
    </dgm:pt>
    <dgm:pt modelId="{2C74E5E3-5D00-48F9-8F05-2068924464B7}" type="parTrans" cxnId="{1A7BF161-CB59-446C-8DE2-71C2735BEA92}">
      <dgm:prSet/>
      <dgm:spPr/>
      <dgm:t>
        <a:bodyPr/>
        <a:lstStyle/>
        <a:p>
          <a:endParaRPr lang="en-US"/>
        </a:p>
      </dgm:t>
    </dgm:pt>
    <dgm:pt modelId="{30DE06C1-B511-4B08-8773-A30497DB10BD}" type="sibTrans" cxnId="{1A7BF161-CB59-446C-8DE2-71C2735BEA92}">
      <dgm:prSet/>
      <dgm:spPr/>
      <dgm:t>
        <a:bodyPr/>
        <a:lstStyle/>
        <a:p>
          <a:endParaRPr lang="en-US"/>
        </a:p>
      </dgm:t>
    </dgm:pt>
    <dgm:pt modelId="{86439E8C-01C9-483A-B6F9-5C297BC32175}" type="pres">
      <dgm:prSet presAssocID="{8A925178-CD75-4076-9F75-96EF2B188E5A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pl-PL"/>
        </a:p>
      </dgm:t>
    </dgm:pt>
    <dgm:pt modelId="{BBC48376-36C1-4536-A70F-B36DE7D795D4}" type="pres">
      <dgm:prSet presAssocID="{8A925178-CD75-4076-9F75-96EF2B188E5A}" presName="Name1" presStyleCnt="0"/>
      <dgm:spPr/>
    </dgm:pt>
    <dgm:pt modelId="{6E1A5567-F7E4-414D-9AB8-C473419F5F3E}" type="pres">
      <dgm:prSet presAssocID="{8A925178-CD75-4076-9F75-96EF2B188E5A}" presName="cycle" presStyleCnt="0"/>
      <dgm:spPr/>
    </dgm:pt>
    <dgm:pt modelId="{24170A89-4602-48A4-931A-25D015682C79}" type="pres">
      <dgm:prSet presAssocID="{8A925178-CD75-4076-9F75-96EF2B188E5A}" presName="srcNode" presStyleLbl="node1" presStyleIdx="0" presStyleCnt="5"/>
      <dgm:spPr/>
    </dgm:pt>
    <dgm:pt modelId="{5E7B0DCE-39E3-40E2-9C48-3420360CD958}" type="pres">
      <dgm:prSet presAssocID="{8A925178-CD75-4076-9F75-96EF2B188E5A}" presName="conn" presStyleLbl="parChTrans1D2" presStyleIdx="0" presStyleCnt="1"/>
      <dgm:spPr/>
      <dgm:t>
        <a:bodyPr/>
        <a:lstStyle/>
        <a:p>
          <a:endParaRPr lang="pl-PL"/>
        </a:p>
      </dgm:t>
    </dgm:pt>
    <dgm:pt modelId="{FD1C217E-6584-4575-9558-7C23857E5B0A}" type="pres">
      <dgm:prSet presAssocID="{8A925178-CD75-4076-9F75-96EF2B188E5A}" presName="extraNode" presStyleLbl="node1" presStyleIdx="0" presStyleCnt="5"/>
      <dgm:spPr/>
    </dgm:pt>
    <dgm:pt modelId="{5F935A36-0C6F-49E5-8EA4-A2365DF0DB9E}" type="pres">
      <dgm:prSet presAssocID="{8A925178-CD75-4076-9F75-96EF2B188E5A}" presName="dstNode" presStyleLbl="node1" presStyleIdx="0" presStyleCnt="5"/>
      <dgm:spPr/>
    </dgm:pt>
    <dgm:pt modelId="{46FB2C98-2461-489F-8C82-BEB02DA862B0}" type="pres">
      <dgm:prSet presAssocID="{03D91996-1204-4F14-B78A-6D1F16A1E2A6}" presName="text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F3A43341-C8C8-42EE-ACB2-646A3640EE7E}" type="pres">
      <dgm:prSet presAssocID="{03D91996-1204-4F14-B78A-6D1F16A1E2A6}" presName="accent_1" presStyleCnt="0"/>
      <dgm:spPr/>
    </dgm:pt>
    <dgm:pt modelId="{A41DA60C-E00D-46E1-993E-71CF95D397DD}" type="pres">
      <dgm:prSet presAssocID="{03D91996-1204-4F14-B78A-6D1F16A1E2A6}" presName="accentRepeatNode" presStyleLbl="solidFgAcc1" presStyleIdx="0" presStyleCnt="5"/>
      <dgm:spPr/>
    </dgm:pt>
    <dgm:pt modelId="{42D67E74-C512-4029-890D-F88E9037F66D}" type="pres">
      <dgm:prSet presAssocID="{E6C44771-39A8-4394-8CFA-AD6FD2F52019}" presName="text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CDF9B950-8A30-4190-966E-167A82D014D1}" type="pres">
      <dgm:prSet presAssocID="{E6C44771-39A8-4394-8CFA-AD6FD2F52019}" presName="accent_2" presStyleCnt="0"/>
      <dgm:spPr/>
    </dgm:pt>
    <dgm:pt modelId="{556CBC5F-D94F-4822-84B3-78AF99D58AE4}" type="pres">
      <dgm:prSet presAssocID="{E6C44771-39A8-4394-8CFA-AD6FD2F52019}" presName="accentRepeatNode" presStyleLbl="solidFgAcc1" presStyleIdx="1" presStyleCnt="5"/>
      <dgm:spPr/>
    </dgm:pt>
    <dgm:pt modelId="{F924A40F-7C16-4939-BAE9-45A1308CA9EE}" type="pres">
      <dgm:prSet presAssocID="{FCC36C03-7401-4254-8AA9-ABFFE711650D}" presName="text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C5EA07-EA0E-4119-9370-2EBE0F231305}" type="pres">
      <dgm:prSet presAssocID="{FCC36C03-7401-4254-8AA9-ABFFE711650D}" presName="accent_3" presStyleCnt="0"/>
      <dgm:spPr/>
    </dgm:pt>
    <dgm:pt modelId="{2C3A0C0A-8BE5-404A-BE38-DF0389EEA081}" type="pres">
      <dgm:prSet presAssocID="{FCC36C03-7401-4254-8AA9-ABFFE711650D}" presName="accentRepeatNode" presStyleLbl="solidFgAcc1" presStyleIdx="2" presStyleCnt="5"/>
      <dgm:spPr/>
    </dgm:pt>
    <dgm:pt modelId="{322BE826-1812-4FCA-B38A-690D54B599E0}" type="pres">
      <dgm:prSet presAssocID="{06AD5670-D1E6-417D-9E78-867FA075D308}" presName="text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6346C72-4839-4E59-898A-1BD4927F3B11}" type="pres">
      <dgm:prSet presAssocID="{06AD5670-D1E6-417D-9E78-867FA075D308}" presName="accent_4" presStyleCnt="0"/>
      <dgm:spPr/>
    </dgm:pt>
    <dgm:pt modelId="{BD564F9E-FB51-464D-980F-AF24CC2C9EB5}" type="pres">
      <dgm:prSet presAssocID="{06AD5670-D1E6-417D-9E78-867FA075D308}" presName="accentRepeatNode" presStyleLbl="solidFgAcc1" presStyleIdx="3" presStyleCnt="5"/>
      <dgm:spPr/>
    </dgm:pt>
    <dgm:pt modelId="{D231EDCB-11CC-491C-975A-EF2A2FA3FC01}" type="pres">
      <dgm:prSet presAssocID="{3BECE36C-50DE-481F-95B8-6825D79EBC93}" presName="text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4A9C2AD-BB13-4CEF-8112-96290D508C5F}" type="pres">
      <dgm:prSet presAssocID="{3BECE36C-50DE-481F-95B8-6825D79EBC93}" presName="accent_5" presStyleCnt="0"/>
      <dgm:spPr/>
    </dgm:pt>
    <dgm:pt modelId="{E031726B-8ABC-407E-B5C5-5449365503BD}" type="pres">
      <dgm:prSet presAssocID="{3BECE36C-50DE-481F-95B8-6825D79EBC93}" presName="accentRepeatNode" presStyleLbl="solidFgAcc1" presStyleIdx="4" presStyleCnt="5"/>
      <dgm:spPr/>
    </dgm:pt>
  </dgm:ptLst>
  <dgm:cxnLst>
    <dgm:cxn modelId="{8ADF04B8-E7B1-4ECC-9F96-0782DA1434B1}" type="presOf" srcId="{3BECE36C-50DE-481F-95B8-6825D79EBC93}" destId="{D231EDCB-11CC-491C-975A-EF2A2FA3FC01}" srcOrd="0" destOrd="0" presId="urn:microsoft.com/office/officeart/2008/layout/VerticalCurvedList"/>
    <dgm:cxn modelId="{99C656B7-4242-4517-AF72-BF8AAFE007B2}" srcId="{8A925178-CD75-4076-9F75-96EF2B188E5A}" destId="{E6C44771-39A8-4394-8CFA-AD6FD2F52019}" srcOrd="1" destOrd="0" parTransId="{86A333D0-E7F0-417C-8B44-494BA8CE94BC}" sibTransId="{A3B106CC-2907-4931-93A2-3849D5B35BAD}"/>
    <dgm:cxn modelId="{C951A97F-9011-4086-A8F8-45F599719D8E}" type="presOf" srcId="{03D91996-1204-4F14-B78A-6D1F16A1E2A6}" destId="{46FB2C98-2461-489F-8C82-BEB02DA862B0}" srcOrd="0" destOrd="0" presId="urn:microsoft.com/office/officeart/2008/layout/VerticalCurvedList"/>
    <dgm:cxn modelId="{EC9535CE-EE8E-4798-BDD1-8E1E3846A6A3}" type="presOf" srcId="{09066845-39AA-4355-A9B1-CDF8DEE6985F}" destId="{5E7B0DCE-39E3-40E2-9C48-3420360CD958}" srcOrd="0" destOrd="0" presId="urn:microsoft.com/office/officeart/2008/layout/VerticalCurvedList"/>
    <dgm:cxn modelId="{DF0D3861-877D-4D7B-9372-9684A978D1FE}" srcId="{8A925178-CD75-4076-9F75-96EF2B188E5A}" destId="{06AD5670-D1E6-417D-9E78-867FA075D308}" srcOrd="3" destOrd="0" parTransId="{18BD9A05-EA5F-41DE-A17C-2CA81572AD4A}" sibTransId="{33D5EDBE-CC06-48BD-B264-8E4DDC0CB60F}"/>
    <dgm:cxn modelId="{87A55F1B-9583-4AA5-B32B-3E8DBBCE6F1E}" srcId="{8A925178-CD75-4076-9F75-96EF2B188E5A}" destId="{FCC36C03-7401-4254-8AA9-ABFFE711650D}" srcOrd="2" destOrd="0" parTransId="{CA01736D-D90F-4379-8792-211B0ABC100A}" sibTransId="{F32D3EED-2E26-4607-B107-765026B12F3F}"/>
    <dgm:cxn modelId="{36DAA95C-144A-4A0A-9637-BCE058CD534C}" type="presOf" srcId="{8A925178-CD75-4076-9F75-96EF2B188E5A}" destId="{86439E8C-01C9-483A-B6F9-5C297BC32175}" srcOrd="0" destOrd="0" presId="urn:microsoft.com/office/officeart/2008/layout/VerticalCurvedList"/>
    <dgm:cxn modelId="{B06FE399-991D-47D6-8D49-77C7E6043E1B}" type="presOf" srcId="{FCC36C03-7401-4254-8AA9-ABFFE711650D}" destId="{F924A40F-7C16-4939-BAE9-45A1308CA9EE}" srcOrd="0" destOrd="0" presId="urn:microsoft.com/office/officeart/2008/layout/VerticalCurvedList"/>
    <dgm:cxn modelId="{1A7BF161-CB59-446C-8DE2-71C2735BEA92}" srcId="{8A925178-CD75-4076-9F75-96EF2B188E5A}" destId="{3BECE36C-50DE-481F-95B8-6825D79EBC93}" srcOrd="4" destOrd="0" parTransId="{2C74E5E3-5D00-48F9-8F05-2068924464B7}" sibTransId="{30DE06C1-B511-4B08-8773-A30497DB10BD}"/>
    <dgm:cxn modelId="{C0714406-8626-4020-8017-3DEA851E2C44}" srcId="{8A925178-CD75-4076-9F75-96EF2B188E5A}" destId="{03D91996-1204-4F14-B78A-6D1F16A1E2A6}" srcOrd="0" destOrd="0" parTransId="{7BA85E31-DA0D-4284-96FF-09A5AAEF5073}" sibTransId="{09066845-39AA-4355-A9B1-CDF8DEE6985F}"/>
    <dgm:cxn modelId="{448EE2FB-1EA0-4657-A0B3-22DD51840996}" type="presOf" srcId="{E6C44771-39A8-4394-8CFA-AD6FD2F52019}" destId="{42D67E74-C512-4029-890D-F88E9037F66D}" srcOrd="0" destOrd="0" presId="urn:microsoft.com/office/officeart/2008/layout/VerticalCurvedList"/>
    <dgm:cxn modelId="{151A2CEC-5F93-49B5-B9FB-CE05E0DE3756}" type="presOf" srcId="{06AD5670-D1E6-417D-9E78-867FA075D308}" destId="{322BE826-1812-4FCA-B38A-690D54B599E0}" srcOrd="0" destOrd="0" presId="urn:microsoft.com/office/officeart/2008/layout/VerticalCurvedList"/>
    <dgm:cxn modelId="{291244DE-A87B-400A-AE83-652A2D1757F5}" type="presParOf" srcId="{86439E8C-01C9-483A-B6F9-5C297BC32175}" destId="{BBC48376-36C1-4536-A70F-B36DE7D795D4}" srcOrd="0" destOrd="0" presId="urn:microsoft.com/office/officeart/2008/layout/VerticalCurvedList"/>
    <dgm:cxn modelId="{A9814186-CD7D-4393-B17F-3E9980913A23}" type="presParOf" srcId="{BBC48376-36C1-4536-A70F-B36DE7D795D4}" destId="{6E1A5567-F7E4-414D-9AB8-C473419F5F3E}" srcOrd="0" destOrd="0" presId="urn:microsoft.com/office/officeart/2008/layout/VerticalCurvedList"/>
    <dgm:cxn modelId="{4049A955-2614-4ACB-84A8-9254DDD488EB}" type="presParOf" srcId="{6E1A5567-F7E4-414D-9AB8-C473419F5F3E}" destId="{24170A89-4602-48A4-931A-25D015682C79}" srcOrd="0" destOrd="0" presId="urn:microsoft.com/office/officeart/2008/layout/VerticalCurvedList"/>
    <dgm:cxn modelId="{6B961992-B040-46E6-9FC9-B593DE97D20E}" type="presParOf" srcId="{6E1A5567-F7E4-414D-9AB8-C473419F5F3E}" destId="{5E7B0DCE-39E3-40E2-9C48-3420360CD958}" srcOrd="1" destOrd="0" presId="urn:microsoft.com/office/officeart/2008/layout/VerticalCurvedList"/>
    <dgm:cxn modelId="{81BBEC9C-4D1C-423D-85BC-B0552DF2C54E}" type="presParOf" srcId="{6E1A5567-F7E4-414D-9AB8-C473419F5F3E}" destId="{FD1C217E-6584-4575-9558-7C23857E5B0A}" srcOrd="2" destOrd="0" presId="urn:microsoft.com/office/officeart/2008/layout/VerticalCurvedList"/>
    <dgm:cxn modelId="{8AD61AA5-C049-445C-B272-91A1A3A4E54C}" type="presParOf" srcId="{6E1A5567-F7E4-414D-9AB8-C473419F5F3E}" destId="{5F935A36-0C6F-49E5-8EA4-A2365DF0DB9E}" srcOrd="3" destOrd="0" presId="urn:microsoft.com/office/officeart/2008/layout/VerticalCurvedList"/>
    <dgm:cxn modelId="{540FC3CB-3856-4820-85CD-45507EE38FE0}" type="presParOf" srcId="{BBC48376-36C1-4536-A70F-B36DE7D795D4}" destId="{46FB2C98-2461-489F-8C82-BEB02DA862B0}" srcOrd="1" destOrd="0" presId="urn:microsoft.com/office/officeart/2008/layout/VerticalCurvedList"/>
    <dgm:cxn modelId="{9567676B-BF33-47B6-89FD-7BEBD1B79711}" type="presParOf" srcId="{BBC48376-36C1-4536-A70F-B36DE7D795D4}" destId="{F3A43341-C8C8-42EE-ACB2-646A3640EE7E}" srcOrd="2" destOrd="0" presId="urn:microsoft.com/office/officeart/2008/layout/VerticalCurvedList"/>
    <dgm:cxn modelId="{121AA3C3-4F13-4455-8A25-9FD80F402806}" type="presParOf" srcId="{F3A43341-C8C8-42EE-ACB2-646A3640EE7E}" destId="{A41DA60C-E00D-46E1-993E-71CF95D397DD}" srcOrd="0" destOrd="0" presId="urn:microsoft.com/office/officeart/2008/layout/VerticalCurvedList"/>
    <dgm:cxn modelId="{56BE0182-D910-4C65-B6F0-2F38D538918C}" type="presParOf" srcId="{BBC48376-36C1-4536-A70F-B36DE7D795D4}" destId="{42D67E74-C512-4029-890D-F88E9037F66D}" srcOrd="3" destOrd="0" presId="urn:microsoft.com/office/officeart/2008/layout/VerticalCurvedList"/>
    <dgm:cxn modelId="{36136CA8-E35A-4F06-9397-9A31CC7D2FFE}" type="presParOf" srcId="{BBC48376-36C1-4536-A70F-B36DE7D795D4}" destId="{CDF9B950-8A30-4190-966E-167A82D014D1}" srcOrd="4" destOrd="0" presId="urn:microsoft.com/office/officeart/2008/layout/VerticalCurvedList"/>
    <dgm:cxn modelId="{EEA11418-8C58-451A-A138-028DCB0FE539}" type="presParOf" srcId="{CDF9B950-8A30-4190-966E-167A82D014D1}" destId="{556CBC5F-D94F-4822-84B3-78AF99D58AE4}" srcOrd="0" destOrd="0" presId="urn:microsoft.com/office/officeart/2008/layout/VerticalCurvedList"/>
    <dgm:cxn modelId="{AC80AE05-1F26-4854-8646-FBE38F1892A8}" type="presParOf" srcId="{BBC48376-36C1-4536-A70F-B36DE7D795D4}" destId="{F924A40F-7C16-4939-BAE9-45A1308CA9EE}" srcOrd="5" destOrd="0" presId="urn:microsoft.com/office/officeart/2008/layout/VerticalCurvedList"/>
    <dgm:cxn modelId="{9049D3A5-7656-4FAA-AD55-6715E6844742}" type="presParOf" srcId="{BBC48376-36C1-4536-A70F-B36DE7D795D4}" destId="{A8C5EA07-EA0E-4119-9370-2EBE0F231305}" srcOrd="6" destOrd="0" presId="urn:microsoft.com/office/officeart/2008/layout/VerticalCurvedList"/>
    <dgm:cxn modelId="{B8155939-A4DE-4834-AF44-664A2351D9BD}" type="presParOf" srcId="{A8C5EA07-EA0E-4119-9370-2EBE0F231305}" destId="{2C3A0C0A-8BE5-404A-BE38-DF0389EEA081}" srcOrd="0" destOrd="0" presId="urn:microsoft.com/office/officeart/2008/layout/VerticalCurvedList"/>
    <dgm:cxn modelId="{17D5A5EB-94E1-4C79-A39E-4DB4EB273B1F}" type="presParOf" srcId="{BBC48376-36C1-4536-A70F-B36DE7D795D4}" destId="{322BE826-1812-4FCA-B38A-690D54B599E0}" srcOrd="7" destOrd="0" presId="urn:microsoft.com/office/officeart/2008/layout/VerticalCurvedList"/>
    <dgm:cxn modelId="{E28434BC-D62E-49DD-A8DD-9D3FFC79BDE4}" type="presParOf" srcId="{BBC48376-36C1-4536-A70F-B36DE7D795D4}" destId="{96346C72-4839-4E59-898A-1BD4927F3B11}" srcOrd="8" destOrd="0" presId="urn:microsoft.com/office/officeart/2008/layout/VerticalCurvedList"/>
    <dgm:cxn modelId="{D8433FB9-86B3-4EA2-AF0D-B7832F9280EA}" type="presParOf" srcId="{96346C72-4839-4E59-898A-1BD4927F3B11}" destId="{BD564F9E-FB51-464D-980F-AF24CC2C9EB5}" srcOrd="0" destOrd="0" presId="urn:microsoft.com/office/officeart/2008/layout/VerticalCurvedList"/>
    <dgm:cxn modelId="{79AF02BB-E690-455A-8989-74CAA2F2A167}" type="presParOf" srcId="{BBC48376-36C1-4536-A70F-B36DE7D795D4}" destId="{D231EDCB-11CC-491C-975A-EF2A2FA3FC01}" srcOrd="9" destOrd="0" presId="urn:microsoft.com/office/officeart/2008/layout/VerticalCurvedList"/>
    <dgm:cxn modelId="{A16B7A46-F314-4E13-A9BF-0D2C3ED35AD2}" type="presParOf" srcId="{BBC48376-36C1-4536-A70F-B36DE7D795D4}" destId="{74A9C2AD-BB13-4CEF-8112-96290D508C5F}" srcOrd="10" destOrd="0" presId="urn:microsoft.com/office/officeart/2008/layout/VerticalCurvedList"/>
    <dgm:cxn modelId="{4AE0C603-4F8E-42E9-AF8E-2F256242EB8B}" type="presParOf" srcId="{74A9C2AD-BB13-4CEF-8112-96290D508C5F}" destId="{E031726B-8ABC-407E-B5C5-5449365503B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DDB217-0B16-4263-AC5A-872FAC85E6DE}" type="datetimeFigureOut">
              <a:rPr lang="pl-PL" smtClean="0"/>
              <a:t>2016-11-23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8864E4-077A-42B5-9709-6B6AF8C87F4C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502922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15E054-160F-499A-BEA3-4411FD7518BD}" type="datetimeFigureOut">
              <a:rPr lang="fr-CH" smtClean="0"/>
              <a:t>23.11.2016</a:t>
            </a:fld>
            <a:endParaRPr lang="fr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731F6D-C2F2-4BD3-91D4-3FC767284B73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502253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altLang="pl-PL" dirty="0" smtClean="0">
                <a:latin typeface="Arial" panose="020B0604020202020204" pitchFamily="34" charset="0"/>
                <a:cs typeface="Arial" panose="020B0604020202020204" pitchFamily="34" charset="0"/>
              </a:rPr>
              <a:t>Wychodząc na przeciw społecznej odpowiedzialności biznesu Zarząd CPP zdecydował o przygotowaniu specjalnego programu „szkoleniowego” dedykowanego młodym ludziom – naszej lokalnej społeczności studenckiej.</a:t>
            </a:r>
          </a:p>
          <a:p>
            <a:r>
              <a:rPr lang="pl-PL" altLang="pl-PL" dirty="0" smtClean="0">
                <a:latin typeface="Arial" panose="020B0604020202020204" pitchFamily="34" charset="0"/>
                <a:cs typeface="Arial" panose="020B0604020202020204" pitchFamily="34" charset="0"/>
              </a:rPr>
              <a:t>Zdajemy sobie sprawę z niekorzystnego dzisiaj położenia młodych ludzi, gdzie aż blisko 30% pozostaje bez pracy. 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9E8055-3FD5-4E64-A1B9-0A446C240F11}" type="slidenum">
              <a:rPr lang="pl-PL" smtClean="0"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651312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altLang="pl-PL" dirty="0" smtClean="0">
                <a:latin typeface="Arial" panose="020B0604020202020204" pitchFamily="34" charset="0"/>
                <a:cs typeface="Arial" panose="020B0604020202020204" pitchFamily="34" charset="0"/>
              </a:rPr>
              <a:t>Starujemy obecnie – chcemy zakończyć i podsumować ten pierwszy cykl do końca października 2016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9E8055-3FD5-4E64-A1B9-0A446C240F11}" type="slidenum">
              <a:rPr lang="pl-PL" smtClean="0"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117363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dirty="0" smtClean="0">
                <a:latin typeface="Arial" panose="020B0604020202020204" pitchFamily="34" charset="0"/>
                <a:cs typeface="Arial" panose="020B0604020202020204" pitchFamily="34" charset="0"/>
              </a:rPr>
              <a:t>Nasi dwój udziałowcy z któryech wiedzy i doświadczenia a także know how czerpiemy; mamy zapewniony dopływ specjalistów i ekspertów od naszych partnerów</a:t>
            </a:r>
            <a:r>
              <a:rPr lang="pl-PL" altLang="pl-PL" dirty="0" smtClean="0">
                <a:latin typeface="+mn-lt"/>
                <a:cs typeface="+mn-cs"/>
              </a:rPr>
              <a:t>.</a:t>
            </a:r>
            <a:endParaRPr lang="en-US" altLang="pl-PL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9E8055-3FD5-4E64-A1B9-0A446C240F11}" type="slidenum">
              <a:rPr lang="pl-PL" smtClean="0"/>
              <a:t>11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067187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7474413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24" y="587729"/>
            <a:ext cx="6481893" cy="6270271"/>
          </a:xfrm>
          <a:prstGeom prst="rect">
            <a:avLst/>
          </a:prstGeom>
        </p:spPr>
      </p:pic>
      <p:sp>
        <p:nvSpPr>
          <p:cNvPr id="20" name="Freeform 12"/>
          <p:cNvSpPr>
            <a:spLocks/>
          </p:cNvSpPr>
          <p:nvPr userDrawn="1"/>
        </p:nvSpPr>
        <p:spPr bwMode="auto">
          <a:xfrm>
            <a:off x="833379" y="1370037"/>
            <a:ext cx="5926641" cy="7082135"/>
          </a:xfrm>
          <a:custGeom>
            <a:avLst/>
            <a:gdLst>
              <a:gd name="T0" fmla="*/ 453 w 2344"/>
              <a:gd name="T1" fmla="*/ 2621 h 2801"/>
              <a:gd name="T2" fmla="*/ 550 w 2344"/>
              <a:gd name="T3" fmla="*/ 2679 h 2801"/>
              <a:gd name="T4" fmla="*/ 663 w 2344"/>
              <a:gd name="T5" fmla="*/ 2730 h 2801"/>
              <a:gd name="T6" fmla="*/ 788 w 2344"/>
              <a:gd name="T7" fmla="*/ 2770 h 2801"/>
              <a:gd name="T8" fmla="*/ 923 w 2344"/>
              <a:gd name="T9" fmla="*/ 2795 h 2801"/>
              <a:gd name="T10" fmla="*/ 1064 w 2344"/>
              <a:gd name="T11" fmla="*/ 2801 h 2801"/>
              <a:gd name="T12" fmla="*/ 1210 w 2344"/>
              <a:gd name="T13" fmla="*/ 2784 h 2801"/>
              <a:gd name="T14" fmla="*/ 1358 w 2344"/>
              <a:gd name="T15" fmla="*/ 2742 h 2801"/>
              <a:gd name="T16" fmla="*/ 1505 w 2344"/>
              <a:gd name="T17" fmla="*/ 2670 h 2801"/>
              <a:gd name="T18" fmla="*/ 1601 w 2344"/>
              <a:gd name="T19" fmla="*/ 2602 h 2801"/>
              <a:gd name="T20" fmla="*/ 1671 w 2344"/>
              <a:gd name="T21" fmla="*/ 2541 h 2801"/>
              <a:gd name="T22" fmla="*/ 1740 w 2344"/>
              <a:gd name="T23" fmla="*/ 2470 h 2801"/>
              <a:gd name="T24" fmla="*/ 1806 w 2344"/>
              <a:gd name="T25" fmla="*/ 2389 h 2801"/>
              <a:gd name="T26" fmla="*/ 1861 w 2344"/>
              <a:gd name="T27" fmla="*/ 2314 h 2801"/>
              <a:gd name="T28" fmla="*/ 1950 w 2344"/>
              <a:gd name="T29" fmla="*/ 2175 h 2801"/>
              <a:gd name="T30" fmla="*/ 2028 w 2344"/>
              <a:gd name="T31" fmla="*/ 2029 h 2801"/>
              <a:gd name="T32" fmla="*/ 2094 w 2344"/>
              <a:gd name="T33" fmla="*/ 1882 h 2801"/>
              <a:gd name="T34" fmla="*/ 2152 w 2344"/>
              <a:gd name="T35" fmla="*/ 1732 h 2801"/>
              <a:gd name="T36" fmla="*/ 2200 w 2344"/>
              <a:gd name="T37" fmla="*/ 1582 h 2801"/>
              <a:gd name="T38" fmla="*/ 2272 w 2344"/>
              <a:gd name="T39" fmla="*/ 1284 h 2801"/>
              <a:gd name="T40" fmla="*/ 2318 w 2344"/>
              <a:gd name="T41" fmla="*/ 998 h 2801"/>
              <a:gd name="T42" fmla="*/ 2340 w 2344"/>
              <a:gd name="T43" fmla="*/ 730 h 2801"/>
              <a:gd name="T44" fmla="*/ 2344 w 2344"/>
              <a:gd name="T45" fmla="*/ 491 h 2801"/>
              <a:gd name="T46" fmla="*/ 2338 w 2344"/>
              <a:gd name="T47" fmla="*/ 289 h 2801"/>
              <a:gd name="T48" fmla="*/ 2321 w 2344"/>
              <a:gd name="T49" fmla="*/ 62 h 2801"/>
              <a:gd name="T50" fmla="*/ 2252 w 2344"/>
              <a:gd name="T51" fmla="*/ 10 h 2801"/>
              <a:gd name="T52" fmla="*/ 2028 w 2344"/>
              <a:gd name="T53" fmla="*/ 65 h 2801"/>
              <a:gd name="T54" fmla="*/ 1836 w 2344"/>
              <a:gd name="T55" fmla="*/ 122 h 2801"/>
              <a:gd name="T56" fmla="*/ 1609 w 2344"/>
              <a:gd name="T57" fmla="*/ 201 h 2801"/>
              <a:gd name="T58" fmla="*/ 1363 w 2344"/>
              <a:gd name="T59" fmla="*/ 306 h 2801"/>
              <a:gd name="T60" fmla="*/ 1102 w 2344"/>
              <a:gd name="T61" fmla="*/ 436 h 2801"/>
              <a:gd name="T62" fmla="*/ 842 w 2344"/>
              <a:gd name="T63" fmla="*/ 598 h 2801"/>
              <a:gd name="T64" fmla="*/ 715 w 2344"/>
              <a:gd name="T65" fmla="*/ 691 h 2801"/>
              <a:gd name="T66" fmla="*/ 591 w 2344"/>
              <a:gd name="T67" fmla="*/ 792 h 2801"/>
              <a:gd name="T68" fmla="*/ 472 w 2344"/>
              <a:gd name="T69" fmla="*/ 902 h 2801"/>
              <a:gd name="T70" fmla="*/ 359 w 2344"/>
              <a:gd name="T71" fmla="*/ 1020 h 2801"/>
              <a:gd name="T72" fmla="*/ 253 w 2344"/>
              <a:gd name="T73" fmla="*/ 1149 h 2801"/>
              <a:gd name="T74" fmla="*/ 197 w 2344"/>
              <a:gd name="T75" fmla="*/ 1224 h 2801"/>
              <a:gd name="T76" fmla="*/ 141 w 2344"/>
              <a:gd name="T77" fmla="*/ 1312 h 2801"/>
              <a:gd name="T78" fmla="*/ 96 w 2344"/>
              <a:gd name="T79" fmla="*/ 1399 h 2801"/>
              <a:gd name="T80" fmla="*/ 61 w 2344"/>
              <a:gd name="T81" fmla="*/ 1485 h 2801"/>
              <a:gd name="T82" fmla="*/ 25 w 2344"/>
              <a:gd name="T83" fmla="*/ 1597 h 2801"/>
              <a:gd name="T84" fmla="*/ 2 w 2344"/>
              <a:gd name="T85" fmla="*/ 1759 h 2801"/>
              <a:gd name="T86" fmla="*/ 6 w 2344"/>
              <a:gd name="T87" fmla="*/ 1912 h 2801"/>
              <a:gd name="T88" fmla="*/ 37 w 2344"/>
              <a:gd name="T89" fmla="*/ 2056 h 2801"/>
              <a:gd name="T90" fmla="*/ 86 w 2344"/>
              <a:gd name="T91" fmla="*/ 2188 h 2801"/>
              <a:gd name="T92" fmla="*/ 152 w 2344"/>
              <a:gd name="T93" fmla="*/ 2308 h 2801"/>
              <a:gd name="T94" fmla="*/ 228 w 2344"/>
              <a:gd name="T95" fmla="*/ 2414 h 2801"/>
              <a:gd name="T96" fmla="*/ 310 w 2344"/>
              <a:gd name="T97" fmla="*/ 2505 h 2801"/>
              <a:gd name="T98" fmla="*/ 396 w 2344"/>
              <a:gd name="T99" fmla="*/ 2580 h 28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344" h="2801">
                <a:moveTo>
                  <a:pt x="424" y="2602"/>
                </a:moveTo>
                <a:lnTo>
                  <a:pt x="424" y="2602"/>
                </a:lnTo>
                <a:lnTo>
                  <a:pt x="453" y="2621"/>
                </a:lnTo>
                <a:lnTo>
                  <a:pt x="484" y="2642"/>
                </a:lnTo>
                <a:lnTo>
                  <a:pt x="516" y="2661"/>
                </a:lnTo>
                <a:lnTo>
                  <a:pt x="550" y="2679"/>
                </a:lnTo>
                <a:lnTo>
                  <a:pt x="587" y="2698"/>
                </a:lnTo>
                <a:lnTo>
                  <a:pt x="623" y="2714"/>
                </a:lnTo>
                <a:lnTo>
                  <a:pt x="663" y="2730"/>
                </a:lnTo>
                <a:lnTo>
                  <a:pt x="704" y="2745"/>
                </a:lnTo>
                <a:lnTo>
                  <a:pt x="745" y="2758"/>
                </a:lnTo>
                <a:lnTo>
                  <a:pt x="788" y="2770"/>
                </a:lnTo>
                <a:lnTo>
                  <a:pt x="832" y="2780"/>
                </a:lnTo>
                <a:lnTo>
                  <a:pt x="878" y="2787"/>
                </a:lnTo>
                <a:lnTo>
                  <a:pt x="923" y="2795"/>
                </a:lnTo>
                <a:lnTo>
                  <a:pt x="969" y="2799"/>
                </a:lnTo>
                <a:lnTo>
                  <a:pt x="1017" y="2801"/>
                </a:lnTo>
                <a:lnTo>
                  <a:pt x="1064" y="2801"/>
                </a:lnTo>
                <a:lnTo>
                  <a:pt x="1113" y="2798"/>
                </a:lnTo>
                <a:lnTo>
                  <a:pt x="1161" y="2793"/>
                </a:lnTo>
                <a:lnTo>
                  <a:pt x="1210" y="2784"/>
                </a:lnTo>
                <a:lnTo>
                  <a:pt x="1260" y="2774"/>
                </a:lnTo>
                <a:lnTo>
                  <a:pt x="1308" y="2759"/>
                </a:lnTo>
                <a:lnTo>
                  <a:pt x="1358" y="2742"/>
                </a:lnTo>
                <a:lnTo>
                  <a:pt x="1407" y="2721"/>
                </a:lnTo>
                <a:lnTo>
                  <a:pt x="1457" y="2698"/>
                </a:lnTo>
                <a:lnTo>
                  <a:pt x="1505" y="2670"/>
                </a:lnTo>
                <a:lnTo>
                  <a:pt x="1554" y="2637"/>
                </a:lnTo>
                <a:lnTo>
                  <a:pt x="1577" y="2620"/>
                </a:lnTo>
                <a:lnTo>
                  <a:pt x="1601" y="2602"/>
                </a:lnTo>
                <a:lnTo>
                  <a:pt x="1624" y="2583"/>
                </a:lnTo>
                <a:lnTo>
                  <a:pt x="1648" y="2563"/>
                </a:lnTo>
                <a:lnTo>
                  <a:pt x="1671" y="2541"/>
                </a:lnTo>
                <a:lnTo>
                  <a:pt x="1695" y="2518"/>
                </a:lnTo>
                <a:lnTo>
                  <a:pt x="1717" y="2495"/>
                </a:lnTo>
                <a:lnTo>
                  <a:pt x="1740" y="2470"/>
                </a:lnTo>
                <a:lnTo>
                  <a:pt x="1762" y="2445"/>
                </a:lnTo>
                <a:lnTo>
                  <a:pt x="1784" y="2417"/>
                </a:lnTo>
                <a:lnTo>
                  <a:pt x="1806" y="2389"/>
                </a:lnTo>
                <a:lnTo>
                  <a:pt x="1828" y="2360"/>
                </a:lnTo>
                <a:lnTo>
                  <a:pt x="1828" y="2360"/>
                </a:lnTo>
                <a:lnTo>
                  <a:pt x="1861" y="2314"/>
                </a:lnTo>
                <a:lnTo>
                  <a:pt x="1892" y="2269"/>
                </a:lnTo>
                <a:lnTo>
                  <a:pt x="1921" y="2222"/>
                </a:lnTo>
                <a:lnTo>
                  <a:pt x="1950" y="2175"/>
                </a:lnTo>
                <a:lnTo>
                  <a:pt x="1977" y="2126"/>
                </a:lnTo>
                <a:lnTo>
                  <a:pt x="2003" y="2078"/>
                </a:lnTo>
                <a:lnTo>
                  <a:pt x="2028" y="2029"/>
                </a:lnTo>
                <a:lnTo>
                  <a:pt x="2052" y="1981"/>
                </a:lnTo>
                <a:lnTo>
                  <a:pt x="2074" y="1931"/>
                </a:lnTo>
                <a:lnTo>
                  <a:pt x="2094" y="1882"/>
                </a:lnTo>
                <a:lnTo>
                  <a:pt x="2115" y="1832"/>
                </a:lnTo>
                <a:lnTo>
                  <a:pt x="2134" y="1782"/>
                </a:lnTo>
                <a:lnTo>
                  <a:pt x="2152" y="1732"/>
                </a:lnTo>
                <a:lnTo>
                  <a:pt x="2169" y="1682"/>
                </a:lnTo>
                <a:lnTo>
                  <a:pt x="2185" y="1632"/>
                </a:lnTo>
                <a:lnTo>
                  <a:pt x="2200" y="1582"/>
                </a:lnTo>
                <a:lnTo>
                  <a:pt x="2228" y="1483"/>
                </a:lnTo>
                <a:lnTo>
                  <a:pt x="2252" y="1383"/>
                </a:lnTo>
                <a:lnTo>
                  <a:pt x="2272" y="1284"/>
                </a:lnTo>
                <a:lnTo>
                  <a:pt x="2290" y="1187"/>
                </a:lnTo>
                <a:lnTo>
                  <a:pt x="2304" y="1092"/>
                </a:lnTo>
                <a:lnTo>
                  <a:pt x="2318" y="998"/>
                </a:lnTo>
                <a:lnTo>
                  <a:pt x="2326" y="905"/>
                </a:lnTo>
                <a:lnTo>
                  <a:pt x="2334" y="817"/>
                </a:lnTo>
                <a:lnTo>
                  <a:pt x="2340" y="730"/>
                </a:lnTo>
                <a:lnTo>
                  <a:pt x="2343" y="646"/>
                </a:lnTo>
                <a:lnTo>
                  <a:pt x="2344" y="567"/>
                </a:lnTo>
                <a:lnTo>
                  <a:pt x="2344" y="491"/>
                </a:lnTo>
                <a:lnTo>
                  <a:pt x="2344" y="419"/>
                </a:lnTo>
                <a:lnTo>
                  <a:pt x="2341" y="351"/>
                </a:lnTo>
                <a:lnTo>
                  <a:pt x="2338" y="289"/>
                </a:lnTo>
                <a:lnTo>
                  <a:pt x="2335" y="232"/>
                </a:lnTo>
                <a:lnTo>
                  <a:pt x="2328" y="134"/>
                </a:lnTo>
                <a:lnTo>
                  <a:pt x="2321" y="62"/>
                </a:lnTo>
                <a:lnTo>
                  <a:pt x="2312" y="0"/>
                </a:lnTo>
                <a:lnTo>
                  <a:pt x="2312" y="0"/>
                </a:lnTo>
                <a:lnTo>
                  <a:pt x="2252" y="10"/>
                </a:lnTo>
                <a:lnTo>
                  <a:pt x="2180" y="26"/>
                </a:lnTo>
                <a:lnTo>
                  <a:pt x="2084" y="50"/>
                </a:lnTo>
                <a:lnTo>
                  <a:pt x="2028" y="65"/>
                </a:lnTo>
                <a:lnTo>
                  <a:pt x="1968" y="81"/>
                </a:lnTo>
                <a:lnTo>
                  <a:pt x="1903" y="100"/>
                </a:lnTo>
                <a:lnTo>
                  <a:pt x="1836" y="122"/>
                </a:lnTo>
                <a:lnTo>
                  <a:pt x="1764" y="145"/>
                </a:lnTo>
                <a:lnTo>
                  <a:pt x="1687" y="172"/>
                </a:lnTo>
                <a:lnTo>
                  <a:pt x="1609" y="201"/>
                </a:lnTo>
                <a:lnTo>
                  <a:pt x="1529" y="234"/>
                </a:lnTo>
                <a:lnTo>
                  <a:pt x="1446" y="267"/>
                </a:lnTo>
                <a:lnTo>
                  <a:pt x="1363" y="306"/>
                </a:lnTo>
                <a:lnTo>
                  <a:pt x="1276" y="347"/>
                </a:lnTo>
                <a:lnTo>
                  <a:pt x="1191" y="389"/>
                </a:lnTo>
                <a:lnTo>
                  <a:pt x="1102" y="436"/>
                </a:lnTo>
                <a:lnTo>
                  <a:pt x="1016" y="488"/>
                </a:lnTo>
                <a:lnTo>
                  <a:pt x="929" y="541"/>
                </a:lnTo>
                <a:lnTo>
                  <a:pt x="842" y="598"/>
                </a:lnTo>
                <a:lnTo>
                  <a:pt x="800" y="627"/>
                </a:lnTo>
                <a:lnTo>
                  <a:pt x="757" y="658"/>
                </a:lnTo>
                <a:lnTo>
                  <a:pt x="715" y="691"/>
                </a:lnTo>
                <a:lnTo>
                  <a:pt x="673" y="723"/>
                </a:lnTo>
                <a:lnTo>
                  <a:pt x="632" y="757"/>
                </a:lnTo>
                <a:lnTo>
                  <a:pt x="591" y="792"/>
                </a:lnTo>
                <a:lnTo>
                  <a:pt x="550" y="827"/>
                </a:lnTo>
                <a:lnTo>
                  <a:pt x="510" y="864"/>
                </a:lnTo>
                <a:lnTo>
                  <a:pt x="472" y="902"/>
                </a:lnTo>
                <a:lnTo>
                  <a:pt x="432" y="940"/>
                </a:lnTo>
                <a:lnTo>
                  <a:pt x="396" y="980"/>
                </a:lnTo>
                <a:lnTo>
                  <a:pt x="359" y="1020"/>
                </a:lnTo>
                <a:lnTo>
                  <a:pt x="322" y="1062"/>
                </a:lnTo>
                <a:lnTo>
                  <a:pt x="287" y="1105"/>
                </a:lnTo>
                <a:lnTo>
                  <a:pt x="253" y="1149"/>
                </a:lnTo>
                <a:lnTo>
                  <a:pt x="219" y="1193"/>
                </a:lnTo>
                <a:lnTo>
                  <a:pt x="219" y="1193"/>
                </a:lnTo>
                <a:lnTo>
                  <a:pt x="197" y="1224"/>
                </a:lnTo>
                <a:lnTo>
                  <a:pt x="178" y="1253"/>
                </a:lnTo>
                <a:lnTo>
                  <a:pt x="159" y="1283"/>
                </a:lnTo>
                <a:lnTo>
                  <a:pt x="141" y="1312"/>
                </a:lnTo>
                <a:lnTo>
                  <a:pt x="125" y="1341"/>
                </a:lnTo>
                <a:lnTo>
                  <a:pt x="111" y="1371"/>
                </a:lnTo>
                <a:lnTo>
                  <a:pt x="96" y="1399"/>
                </a:lnTo>
                <a:lnTo>
                  <a:pt x="83" y="1428"/>
                </a:lnTo>
                <a:lnTo>
                  <a:pt x="71" y="1456"/>
                </a:lnTo>
                <a:lnTo>
                  <a:pt x="61" y="1485"/>
                </a:lnTo>
                <a:lnTo>
                  <a:pt x="50" y="1513"/>
                </a:lnTo>
                <a:lnTo>
                  <a:pt x="42" y="1541"/>
                </a:lnTo>
                <a:lnTo>
                  <a:pt x="25" y="1597"/>
                </a:lnTo>
                <a:lnTo>
                  <a:pt x="14" y="1652"/>
                </a:lnTo>
                <a:lnTo>
                  <a:pt x="6" y="1706"/>
                </a:lnTo>
                <a:lnTo>
                  <a:pt x="2" y="1759"/>
                </a:lnTo>
                <a:lnTo>
                  <a:pt x="0" y="1812"/>
                </a:lnTo>
                <a:lnTo>
                  <a:pt x="2" y="1862"/>
                </a:lnTo>
                <a:lnTo>
                  <a:pt x="6" y="1912"/>
                </a:lnTo>
                <a:lnTo>
                  <a:pt x="14" y="1962"/>
                </a:lnTo>
                <a:lnTo>
                  <a:pt x="24" y="2009"/>
                </a:lnTo>
                <a:lnTo>
                  <a:pt x="37" y="2056"/>
                </a:lnTo>
                <a:lnTo>
                  <a:pt x="50" y="2101"/>
                </a:lnTo>
                <a:lnTo>
                  <a:pt x="68" y="2145"/>
                </a:lnTo>
                <a:lnTo>
                  <a:pt x="86" y="2188"/>
                </a:lnTo>
                <a:lnTo>
                  <a:pt x="106" y="2229"/>
                </a:lnTo>
                <a:lnTo>
                  <a:pt x="128" y="2269"/>
                </a:lnTo>
                <a:lnTo>
                  <a:pt x="152" y="2308"/>
                </a:lnTo>
                <a:lnTo>
                  <a:pt x="175" y="2345"/>
                </a:lnTo>
                <a:lnTo>
                  <a:pt x="202" y="2380"/>
                </a:lnTo>
                <a:lnTo>
                  <a:pt x="228" y="2414"/>
                </a:lnTo>
                <a:lnTo>
                  <a:pt x="255" y="2446"/>
                </a:lnTo>
                <a:lnTo>
                  <a:pt x="283" y="2477"/>
                </a:lnTo>
                <a:lnTo>
                  <a:pt x="310" y="2505"/>
                </a:lnTo>
                <a:lnTo>
                  <a:pt x="338" y="2532"/>
                </a:lnTo>
                <a:lnTo>
                  <a:pt x="368" y="2557"/>
                </a:lnTo>
                <a:lnTo>
                  <a:pt x="396" y="2580"/>
                </a:lnTo>
                <a:lnTo>
                  <a:pt x="424" y="2602"/>
                </a:lnTo>
                <a:lnTo>
                  <a:pt x="424" y="2602"/>
                </a:lnTo>
                <a:close/>
              </a:path>
            </a:pathLst>
          </a:cu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917638" y="1083054"/>
            <a:ext cx="4793975" cy="1508124"/>
          </a:xfrm>
        </p:spPr>
        <p:txBody>
          <a:bodyPr anchor="b">
            <a:noAutofit/>
          </a:bodyPr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917638" y="2718919"/>
            <a:ext cx="4793975" cy="1655762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162"/>
          <a:stretch/>
        </p:blipFill>
        <p:spPr>
          <a:xfrm>
            <a:off x="10026294" y="4942726"/>
            <a:ext cx="1578335" cy="1410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375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31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814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417445" y="895350"/>
            <a:ext cx="11280915" cy="5259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7376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tal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3425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52449" y="337344"/>
            <a:ext cx="10839451" cy="6723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9579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917638" y="1083054"/>
            <a:ext cx="4793975" cy="1508124"/>
          </a:xfrm>
        </p:spPr>
        <p:txBody>
          <a:bodyPr anchor="b">
            <a:noAutofit/>
          </a:bodyPr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917638" y="2718919"/>
            <a:ext cx="4793975" cy="1655762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24" y="587729"/>
            <a:ext cx="6481893" cy="6270271"/>
          </a:xfrm>
          <a:prstGeom prst="rect">
            <a:avLst/>
          </a:prstGeom>
        </p:spPr>
      </p:pic>
      <p:sp>
        <p:nvSpPr>
          <p:cNvPr id="9" name="Freeform 12"/>
          <p:cNvSpPr>
            <a:spLocks/>
          </p:cNvSpPr>
          <p:nvPr userDrawn="1"/>
        </p:nvSpPr>
        <p:spPr bwMode="auto">
          <a:xfrm>
            <a:off x="833379" y="1370037"/>
            <a:ext cx="5926641" cy="7082135"/>
          </a:xfrm>
          <a:custGeom>
            <a:avLst/>
            <a:gdLst>
              <a:gd name="T0" fmla="*/ 453 w 2344"/>
              <a:gd name="T1" fmla="*/ 2621 h 2801"/>
              <a:gd name="T2" fmla="*/ 550 w 2344"/>
              <a:gd name="T3" fmla="*/ 2679 h 2801"/>
              <a:gd name="T4" fmla="*/ 663 w 2344"/>
              <a:gd name="T5" fmla="*/ 2730 h 2801"/>
              <a:gd name="T6" fmla="*/ 788 w 2344"/>
              <a:gd name="T7" fmla="*/ 2770 h 2801"/>
              <a:gd name="T8" fmla="*/ 923 w 2344"/>
              <a:gd name="T9" fmla="*/ 2795 h 2801"/>
              <a:gd name="T10" fmla="*/ 1064 w 2344"/>
              <a:gd name="T11" fmla="*/ 2801 h 2801"/>
              <a:gd name="T12" fmla="*/ 1210 w 2344"/>
              <a:gd name="T13" fmla="*/ 2784 h 2801"/>
              <a:gd name="T14" fmla="*/ 1358 w 2344"/>
              <a:gd name="T15" fmla="*/ 2742 h 2801"/>
              <a:gd name="T16" fmla="*/ 1505 w 2344"/>
              <a:gd name="T17" fmla="*/ 2670 h 2801"/>
              <a:gd name="T18" fmla="*/ 1601 w 2344"/>
              <a:gd name="T19" fmla="*/ 2602 h 2801"/>
              <a:gd name="T20" fmla="*/ 1671 w 2344"/>
              <a:gd name="T21" fmla="*/ 2541 h 2801"/>
              <a:gd name="T22" fmla="*/ 1740 w 2344"/>
              <a:gd name="T23" fmla="*/ 2470 h 2801"/>
              <a:gd name="T24" fmla="*/ 1806 w 2344"/>
              <a:gd name="T25" fmla="*/ 2389 h 2801"/>
              <a:gd name="T26" fmla="*/ 1861 w 2344"/>
              <a:gd name="T27" fmla="*/ 2314 h 2801"/>
              <a:gd name="T28" fmla="*/ 1950 w 2344"/>
              <a:gd name="T29" fmla="*/ 2175 h 2801"/>
              <a:gd name="T30" fmla="*/ 2028 w 2344"/>
              <a:gd name="T31" fmla="*/ 2029 h 2801"/>
              <a:gd name="T32" fmla="*/ 2094 w 2344"/>
              <a:gd name="T33" fmla="*/ 1882 h 2801"/>
              <a:gd name="T34" fmla="*/ 2152 w 2344"/>
              <a:gd name="T35" fmla="*/ 1732 h 2801"/>
              <a:gd name="T36" fmla="*/ 2200 w 2344"/>
              <a:gd name="T37" fmla="*/ 1582 h 2801"/>
              <a:gd name="T38" fmla="*/ 2272 w 2344"/>
              <a:gd name="T39" fmla="*/ 1284 h 2801"/>
              <a:gd name="T40" fmla="*/ 2318 w 2344"/>
              <a:gd name="T41" fmla="*/ 998 h 2801"/>
              <a:gd name="T42" fmla="*/ 2340 w 2344"/>
              <a:gd name="T43" fmla="*/ 730 h 2801"/>
              <a:gd name="T44" fmla="*/ 2344 w 2344"/>
              <a:gd name="T45" fmla="*/ 491 h 2801"/>
              <a:gd name="T46" fmla="*/ 2338 w 2344"/>
              <a:gd name="T47" fmla="*/ 289 h 2801"/>
              <a:gd name="T48" fmla="*/ 2321 w 2344"/>
              <a:gd name="T49" fmla="*/ 62 h 2801"/>
              <a:gd name="T50" fmla="*/ 2252 w 2344"/>
              <a:gd name="T51" fmla="*/ 10 h 2801"/>
              <a:gd name="T52" fmla="*/ 2028 w 2344"/>
              <a:gd name="T53" fmla="*/ 65 h 2801"/>
              <a:gd name="T54" fmla="*/ 1836 w 2344"/>
              <a:gd name="T55" fmla="*/ 122 h 2801"/>
              <a:gd name="T56" fmla="*/ 1609 w 2344"/>
              <a:gd name="T57" fmla="*/ 201 h 2801"/>
              <a:gd name="T58" fmla="*/ 1363 w 2344"/>
              <a:gd name="T59" fmla="*/ 306 h 2801"/>
              <a:gd name="T60" fmla="*/ 1102 w 2344"/>
              <a:gd name="T61" fmla="*/ 436 h 2801"/>
              <a:gd name="T62" fmla="*/ 842 w 2344"/>
              <a:gd name="T63" fmla="*/ 598 h 2801"/>
              <a:gd name="T64" fmla="*/ 715 w 2344"/>
              <a:gd name="T65" fmla="*/ 691 h 2801"/>
              <a:gd name="T66" fmla="*/ 591 w 2344"/>
              <a:gd name="T67" fmla="*/ 792 h 2801"/>
              <a:gd name="T68" fmla="*/ 472 w 2344"/>
              <a:gd name="T69" fmla="*/ 902 h 2801"/>
              <a:gd name="T70" fmla="*/ 359 w 2344"/>
              <a:gd name="T71" fmla="*/ 1020 h 2801"/>
              <a:gd name="T72" fmla="*/ 253 w 2344"/>
              <a:gd name="T73" fmla="*/ 1149 h 2801"/>
              <a:gd name="T74" fmla="*/ 197 w 2344"/>
              <a:gd name="T75" fmla="*/ 1224 h 2801"/>
              <a:gd name="T76" fmla="*/ 141 w 2344"/>
              <a:gd name="T77" fmla="*/ 1312 h 2801"/>
              <a:gd name="T78" fmla="*/ 96 w 2344"/>
              <a:gd name="T79" fmla="*/ 1399 h 2801"/>
              <a:gd name="T80" fmla="*/ 61 w 2344"/>
              <a:gd name="T81" fmla="*/ 1485 h 2801"/>
              <a:gd name="T82" fmla="*/ 25 w 2344"/>
              <a:gd name="T83" fmla="*/ 1597 h 2801"/>
              <a:gd name="T84" fmla="*/ 2 w 2344"/>
              <a:gd name="T85" fmla="*/ 1759 h 2801"/>
              <a:gd name="T86" fmla="*/ 6 w 2344"/>
              <a:gd name="T87" fmla="*/ 1912 h 2801"/>
              <a:gd name="T88" fmla="*/ 37 w 2344"/>
              <a:gd name="T89" fmla="*/ 2056 h 2801"/>
              <a:gd name="T90" fmla="*/ 86 w 2344"/>
              <a:gd name="T91" fmla="*/ 2188 h 2801"/>
              <a:gd name="T92" fmla="*/ 152 w 2344"/>
              <a:gd name="T93" fmla="*/ 2308 h 2801"/>
              <a:gd name="T94" fmla="*/ 228 w 2344"/>
              <a:gd name="T95" fmla="*/ 2414 h 2801"/>
              <a:gd name="T96" fmla="*/ 310 w 2344"/>
              <a:gd name="T97" fmla="*/ 2505 h 2801"/>
              <a:gd name="T98" fmla="*/ 396 w 2344"/>
              <a:gd name="T99" fmla="*/ 2580 h 28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344" h="2801">
                <a:moveTo>
                  <a:pt x="424" y="2602"/>
                </a:moveTo>
                <a:lnTo>
                  <a:pt x="424" y="2602"/>
                </a:lnTo>
                <a:lnTo>
                  <a:pt x="453" y="2621"/>
                </a:lnTo>
                <a:lnTo>
                  <a:pt x="484" y="2642"/>
                </a:lnTo>
                <a:lnTo>
                  <a:pt x="516" y="2661"/>
                </a:lnTo>
                <a:lnTo>
                  <a:pt x="550" y="2679"/>
                </a:lnTo>
                <a:lnTo>
                  <a:pt x="587" y="2698"/>
                </a:lnTo>
                <a:lnTo>
                  <a:pt x="623" y="2714"/>
                </a:lnTo>
                <a:lnTo>
                  <a:pt x="663" y="2730"/>
                </a:lnTo>
                <a:lnTo>
                  <a:pt x="704" y="2745"/>
                </a:lnTo>
                <a:lnTo>
                  <a:pt x="745" y="2758"/>
                </a:lnTo>
                <a:lnTo>
                  <a:pt x="788" y="2770"/>
                </a:lnTo>
                <a:lnTo>
                  <a:pt x="832" y="2780"/>
                </a:lnTo>
                <a:lnTo>
                  <a:pt x="878" y="2787"/>
                </a:lnTo>
                <a:lnTo>
                  <a:pt x="923" y="2795"/>
                </a:lnTo>
                <a:lnTo>
                  <a:pt x="969" y="2799"/>
                </a:lnTo>
                <a:lnTo>
                  <a:pt x="1017" y="2801"/>
                </a:lnTo>
                <a:lnTo>
                  <a:pt x="1064" y="2801"/>
                </a:lnTo>
                <a:lnTo>
                  <a:pt x="1113" y="2798"/>
                </a:lnTo>
                <a:lnTo>
                  <a:pt x="1161" y="2793"/>
                </a:lnTo>
                <a:lnTo>
                  <a:pt x="1210" y="2784"/>
                </a:lnTo>
                <a:lnTo>
                  <a:pt x="1260" y="2774"/>
                </a:lnTo>
                <a:lnTo>
                  <a:pt x="1308" y="2759"/>
                </a:lnTo>
                <a:lnTo>
                  <a:pt x="1358" y="2742"/>
                </a:lnTo>
                <a:lnTo>
                  <a:pt x="1407" y="2721"/>
                </a:lnTo>
                <a:lnTo>
                  <a:pt x="1457" y="2698"/>
                </a:lnTo>
                <a:lnTo>
                  <a:pt x="1505" y="2670"/>
                </a:lnTo>
                <a:lnTo>
                  <a:pt x="1554" y="2637"/>
                </a:lnTo>
                <a:lnTo>
                  <a:pt x="1577" y="2620"/>
                </a:lnTo>
                <a:lnTo>
                  <a:pt x="1601" y="2602"/>
                </a:lnTo>
                <a:lnTo>
                  <a:pt x="1624" y="2583"/>
                </a:lnTo>
                <a:lnTo>
                  <a:pt x="1648" y="2563"/>
                </a:lnTo>
                <a:lnTo>
                  <a:pt x="1671" y="2541"/>
                </a:lnTo>
                <a:lnTo>
                  <a:pt x="1695" y="2518"/>
                </a:lnTo>
                <a:lnTo>
                  <a:pt x="1717" y="2495"/>
                </a:lnTo>
                <a:lnTo>
                  <a:pt x="1740" y="2470"/>
                </a:lnTo>
                <a:lnTo>
                  <a:pt x="1762" y="2445"/>
                </a:lnTo>
                <a:lnTo>
                  <a:pt x="1784" y="2417"/>
                </a:lnTo>
                <a:lnTo>
                  <a:pt x="1806" y="2389"/>
                </a:lnTo>
                <a:lnTo>
                  <a:pt x="1828" y="2360"/>
                </a:lnTo>
                <a:lnTo>
                  <a:pt x="1828" y="2360"/>
                </a:lnTo>
                <a:lnTo>
                  <a:pt x="1861" y="2314"/>
                </a:lnTo>
                <a:lnTo>
                  <a:pt x="1892" y="2269"/>
                </a:lnTo>
                <a:lnTo>
                  <a:pt x="1921" y="2222"/>
                </a:lnTo>
                <a:lnTo>
                  <a:pt x="1950" y="2175"/>
                </a:lnTo>
                <a:lnTo>
                  <a:pt x="1977" y="2126"/>
                </a:lnTo>
                <a:lnTo>
                  <a:pt x="2003" y="2078"/>
                </a:lnTo>
                <a:lnTo>
                  <a:pt x="2028" y="2029"/>
                </a:lnTo>
                <a:lnTo>
                  <a:pt x="2052" y="1981"/>
                </a:lnTo>
                <a:lnTo>
                  <a:pt x="2074" y="1931"/>
                </a:lnTo>
                <a:lnTo>
                  <a:pt x="2094" y="1882"/>
                </a:lnTo>
                <a:lnTo>
                  <a:pt x="2115" y="1832"/>
                </a:lnTo>
                <a:lnTo>
                  <a:pt x="2134" y="1782"/>
                </a:lnTo>
                <a:lnTo>
                  <a:pt x="2152" y="1732"/>
                </a:lnTo>
                <a:lnTo>
                  <a:pt x="2169" y="1682"/>
                </a:lnTo>
                <a:lnTo>
                  <a:pt x="2185" y="1632"/>
                </a:lnTo>
                <a:lnTo>
                  <a:pt x="2200" y="1582"/>
                </a:lnTo>
                <a:lnTo>
                  <a:pt x="2228" y="1483"/>
                </a:lnTo>
                <a:lnTo>
                  <a:pt x="2252" y="1383"/>
                </a:lnTo>
                <a:lnTo>
                  <a:pt x="2272" y="1284"/>
                </a:lnTo>
                <a:lnTo>
                  <a:pt x="2290" y="1187"/>
                </a:lnTo>
                <a:lnTo>
                  <a:pt x="2304" y="1092"/>
                </a:lnTo>
                <a:lnTo>
                  <a:pt x="2318" y="998"/>
                </a:lnTo>
                <a:lnTo>
                  <a:pt x="2326" y="905"/>
                </a:lnTo>
                <a:lnTo>
                  <a:pt x="2334" y="817"/>
                </a:lnTo>
                <a:lnTo>
                  <a:pt x="2340" y="730"/>
                </a:lnTo>
                <a:lnTo>
                  <a:pt x="2343" y="646"/>
                </a:lnTo>
                <a:lnTo>
                  <a:pt x="2344" y="567"/>
                </a:lnTo>
                <a:lnTo>
                  <a:pt x="2344" y="491"/>
                </a:lnTo>
                <a:lnTo>
                  <a:pt x="2344" y="419"/>
                </a:lnTo>
                <a:lnTo>
                  <a:pt x="2341" y="351"/>
                </a:lnTo>
                <a:lnTo>
                  <a:pt x="2338" y="289"/>
                </a:lnTo>
                <a:lnTo>
                  <a:pt x="2335" y="232"/>
                </a:lnTo>
                <a:lnTo>
                  <a:pt x="2328" y="134"/>
                </a:lnTo>
                <a:lnTo>
                  <a:pt x="2321" y="62"/>
                </a:lnTo>
                <a:lnTo>
                  <a:pt x="2312" y="0"/>
                </a:lnTo>
                <a:lnTo>
                  <a:pt x="2312" y="0"/>
                </a:lnTo>
                <a:lnTo>
                  <a:pt x="2252" y="10"/>
                </a:lnTo>
                <a:lnTo>
                  <a:pt x="2180" y="26"/>
                </a:lnTo>
                <a:lnTo>
                  <a:pt x="2084" y="50"/>
                </a:lnTo>
                <a:lnTo>
                  <a:pt x="2028" y="65"/>
                </a:lnTo>
                <a:lnTo>
                  <a:pt x="1968" y="81"/>
                </a:lnTo>
                <a:lnTo>
                  <a:pt x="1903" y="100"/>
                </a:lnTo>
                <a:lnTo>
                  <a:pt x="1836" y="122"/>
                </a:lnTo>
                <a:lnTo>
                  <a:pt x="1764" y="145"/>
                </a:lnTo>
                <a:lnTo>
                  <a:pt x="1687" y="172"/>
                </a:lnTo>
                <a:lnTo>
                  <a:pt x="1609" y="201"/>
                </a:lnTo>
                <a:lnTo>
                  <a:pt x="1529" y="234"/>
                </a:lnTo>
                <a:lnTo>
                  <a:pt x="1446" y="267"/>
                </a:lnTo>
                <a:lnTo>
                  <a:pt x="1363" y="306"/>
                </a:lnTo>
                <a:lnTo>
                  <a:pt x="1276" y="347"/>
                </a:lnTo>
                <a:lnTo>
                  <a:pt x="1191" y="389"/>
                </a:lnTo>
                <a:lnTo>
                  <a:pt x="1102" y="436"/>
                </a:lnTo>
                <a:lnTo>
                  <a:pt x="1016" y="488"/>
                </a:lnTo>
                <a:lnTo>
                  <a:pt x="929" y="541"/>
                </a:lnTo>
                <a:lnTo>
                  <a:pt x="842" y="598"/>
                </a:lnTo>
                <a:lnTo>
                  <a:pt x="800" y="627"/>
                </a:lnTo>
                <a:lnTo>
                  <a:pt x="757" y="658"/>
                </a:lnTo>
                <a:lnTo>
                  <a:pt x="715" y="691"/>
                </a:lnTo>
                <a:lnTo>
                  <a:pt x="673" y="723"/>
                </a:lnTo>
                <a:lnTo>
                  <a:pt x="632" y="757"/>
                </a:lnTo>
                <a:lnTo>
                  <a:pt x="591" y="792"/>
                </a:lnTo>
                <a:lnTo>
                  <a:pt x="550" y="827"/>
                </a:lnTo>
                <a:lnTo>
                  <a:pt x="510" y="864"/>
                </a:lnTo>
                <a:lnTo>
                  <a:pt x="472" y="902"/>
                </a:lnTo>
                <a:lnTo>
                  <a:pt x="432" y="940"/>
                </a:lnTo>
                <a:lnTo>
                  <a:pt x="396" y="980"/>
                </a:lnTo>
                <a:lnTo>
                  <a:pt x="359" y="1020"/>
                </a:lnTo>
                <a:lnTo>
                  <a:pt x="322" y="1062"/>
                </a:lnTo>
                <a:lnTo>
                  <a:pt x="287" y="1105"/>
                </a:lnTo>
                <a:lnTo>
                  <a:pt x="253" y="1149"/>
                </a:lnTo>
                <a:lnTo>
                  <a:pt x="219" y="1193"/>
                </a:lnTo>
                <a:lnTo>
                  <a:pt x="219" y="1193"/>
                </a:lnTo>
                <a:lnTo>
                  <a:pt x="197" y="1224"/>
                </a:lnTo>
                <a:lnTo>
                  <a:pt x="178" y="1253"/>
                </a:lnTo>
                <a:lnTo>
                  <a:pt x="159" y="1283"/>
                </a:lnTo>
                <a:lnTo>
                  <a:pt x="141" y="1312"/>
                </a:lnTo>
                <a:lnTo>
                  <a:pt x="125" y="1341"/>
                </a:lnTo>
                <a:lnTo>
                  <a:pt x="111" y="1371"/>
                </a:lnTo>
                <a:lnTo>
                  <a:pt x="96" y="1399"/>
                </a:lnTo>
                <a:lnTo>
                  <a:pt x="83" y="1428"/>
                </a:lnTo>
                <a:lnTo>
                  <a:pt x="71" y="1456"/>
                </a:lnTo>
                <a:lnTo>
                  <a:pt x="61" y="1485"/>
                </a:lnTo>
                <a:lnTo>
                  <a:pt x="50" y="1513"/>
                </a:lnTo>
                <a:lnTo>
                  <a:pt x="42" y="1541"/>
                </a:lnTo>
                <a:lnTo>
                  <a:pt x="25" y="1597"/>
                </a:lnTo>
                <a:lnTo>
                  <a:pt x="14" y="1652"/>
                </a:lnTo>
                <a:lnTo>
                  <a:pt x="6" y="1706"/>
                </a:lnTo>
                <a:lnTo>
                  <a:pt x="2" y="1759"/>
                </a:lnTo>
                <a:lnTo>
                  <a:pt x="0" y="1812"/>
                </a:lnTo>
                <a:lnTo>
                  <a:pt x="2" y="1862"/>
                </a:lnTo>
                <a:lnTo>
                  <a:pt x="6" y="1912"/>
                </a:lnTo>
                <a:lnTo>
                  <a:pt x="14" y="1962"/>
                </a:lnTo>
                <a:lnTo>
                  <a:pt x="24" y="2009"/>
                </a:lnTo>
                <a:lnTo>
                  <a:pt x="37" y="2056"/>
                </a:lnTo>
                <a:lnTo>
                  <a:pt x="50" y="2101"/>
                </a:lnTo>
                <a:lnTo>
                  <a:pt x="68" y="2145"/>
                </a:lnTo>
                <a:lnTo>
                  <a:pt x="86" y="2188"/>
                </a:lnTo>
                <a:lnTo>
                  <a:pt x="106" y="2229"/>
                </a:lnTo>
                <a:lnTo>
                  <a:pt x="128" y="2269"/>
                </a:lnTo>
                <a:lnTo>
                  <a:pt x="152" y="2308"/>
                </a:lnTo>
                <a:lnTo>
                  <a:pt x="175" y="2345"/>
                </a:lnTo>
                <a:lnTo>
                  <a:pt x="202" y="2380"/>
                </a:lnTo>
                <a:lnTo>
                  <a:pt x="228" y="2414"/>
                </a:lnTo>
                <a:lnTo>
                  <a:pt x="255" y="2446"/>
                </a:lnTo>
                <a:lnTo>
                  <a:pt x="283" y="2477"/>
                </a:lnTo>
                <a:lnTo>
                  <a:pt x="310" y="2505"/>
                </a:lnTo>
                <a:lnTo>
                  <a:pt x="338" y="2532"/>
                </a:lnTo>
                <a:lnTo>
                  <a:pt x="368" y="2557"/>
                </a:lnTo>
                <a:lnTo>
                  <a:pt x="396" y="2580"/>
                </a:lnTo>
                <a:lnTo>
                  <a:pt x="424" y="2602"/>
                </a:lnTo>
                <a:lnTo>
                  <a:pt x="424" y="2602"/>
                </a:lnTo>
                <a:close/>
              </a:path>
            </a:pathLst>
          </a:custGeom>
          <a:noFill/>
          <a:ln w="19050">
            <a:solidFill>
              <a:schemeClr val="accent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162"/>
          <a:stretch/>
        </p:blipFill>
        <p:spPr>
          <a:xfrm>
            <a:off x="10026294" y="4942726"/>
            <a:ext cx="1578335" cy="1410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052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31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917638" y="1083056"/>
            <a:ext cx="4793975" cy="1508124"/>
          </a:xfrm>
        </p:spPr>
        <p:txBody>
          <a:bodyPr anchor="b">
            <a:noAutofit/>
          </a:bodyPr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917638" y="2718921"/>
            <a:ext cx="4793975" cy="1655762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grpSp>
        <p:nvGrpSpPr>
          <p:cNvPr id="6" name="Group 4"/>
          <p:cNvGrpSpPr>
            <a:grpSpLocks noChangeAspect="1"/>
          </p:cNvGrpSpPr>
          <p:nvPr userDrawn="1"/>
        </p:nvGrpSpPr>
        <p:grpSpPr bwMode="auto">
          <a:xfrm>
            <a:off x="-357187" y="536575"/>
            <a:ext cx="7370763" cy="6853237"/>
            <a:chOff x="-225" y="338"/>
            <a:chExt cx="4643" cy="4317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838" y="3210"/>
              <a:ext cx="2383" cy="1445"/>
            </a:xfrm>
            <a:custGeom>
              <a:avLst/>
              <a:gdLst>
                <a:gd name="T0" fmla="*/ 2383 w 2383"/>
                <a:gd name="T1" fmla="*/ 792 h 1445"/>
                <a:gd name="T2" fmla="*/ 2199 w 2383"/>
                <a:gd name="T3" fmla="*/ 940 h 1445"/>
                <a:gd name="T4" fmla="*/ 2000 w 2383"/>
                <a:gd name="T5" fmla="*/ 1077 h 1445"/>
                <a:gd name="T6" fmla="*/ 1792 w 2383"/>
                <a:gd name="T7" fmla="*/ 1196 h 1445"/>
                <a:gd name="T8" fmla="*/ 1572 w 2383"/>
                <a:gd name="T9" fmla="*/ 1294 h 1445"/>
                <a:gd name="T10" fmla="*/ 1407 w 2383"/>
                <a:gd name="T11" fmla="*/ 1354 h 1445"/>
                <a:gd name="T12" fmla="*/ 1294 w 2383"/>
                <a:gd name="T13" fmla="*/ 1385 h 1445"/>
                <a:gd name="T14" fmla="*/ 1184 w 2383"/>
                <a:gd name="T15" fmla="*/ 1412 h 1445"/>
                <a:gd name="T16" fmla="*/ 1074 w 2383"/>
                <a:gd name="T17" fmla="*/ 1431 h 1445"/>
                <a:gd name="T18" fmla="*/ 964 w 2383"/>
                <a:gd name="T19" fmla="*/ 1443 h 1445"/>
                <a:gd name="T20" fmla="*/ 856 w 2383"/>
                <a:gd name="T21" fmla="*/ 1445 h 1445"/>
                <a:gd name="T22" fmla="*/ 751 w 2383"/>
                <a:gd name="T23" fmla="*/ 1443 h 1445"/>
                <a:gd name="T24" fmla="*/ 701 w 2383"/>
                <a:gd name="T25" fmla="*/ 1438 h 1445"/>
                <a:gd name="T26" fmla="*/ 624 w 2383"/>
                <a:gd name="T27" fmla="*/ 1428 h 1445"/>
                <a:gd name="T28" fmla="*/ 550 w 2383"/>
                <a:gd name="T29" fmla="*/ 1412 h 1445"/>
                <a:gd name="T30" fmla="*/ 478 w 2383"/>
                <a:gd name="T31" fmla="*/ 1388 h 1445"/>
                <a:gd name="T32" fmla="*/ 411 w 2383"/>
                <a:gd name="T33" fmla="*/ 1361 h 1445"/>
                <a:gd name="T34" fmla="*/ 349 w 2383"/>
                <a:gd name="T35" fmla="*/ 1328 h 1445"/>
                <a:gd name="T36" fmla="*/ 289 w 2383"/>
                <a:gd name="T37" fmla="*/ 1290 h 1445"/>
                <a:gd name="T38" fmla="*/ 236 w 2383"/>
                <a:gd name="T39" fmla="*/ 1247 h 1445"/>
                <a:gd name="T40" fmla="*/ 186 w 2383"/>
                <a:gd name="T41" fmla="*/ 1199 h 1445"/>
                <a:gd name="T42" fmla="*/ 143 w 2383"/>
                <a:gd name="T43" fmla="*/ 1146 h 1445"/>
                <a:gd name="T44" fmla="*/ 105 w 2383"/>
                <a:gd name="T45" fmla="*/ 1089 h 1445"/>
                <a:gd name="T46" fmla="*/ 71 w 2383"/>
                <a:gd name="T47" fmla="*/ 1026 h 1445"/>
                <a:gd name="T48" fmla="*/ 43 w 2383"/>
                <a:gd name="T49" fmla="*/ 962 h 1445"/>
                <a:gd name="T50" fmla="*/ 23 w 2383"/>
                <a:gd name="T51" fmla="*/ 890 h 1445"/>
                <a:gd name="T52" fmla="*/ 9 w 2383"/>
                <a:gd name="T53" fmla="*/ 816 h 1445"/>
                <a:gd name="T54" fmla="*/ 0 w 2383"/>
                <a:gd name="T55" fmla="*/ 737 h 1445"/>
                <a:gd name="T56" fmla="*/ 0 w 2383"/>
                <a:gd name="T57" fmla="*/ 655 h 1445"/>
                <a:gd name="T58" fmla="*/ 4 w 2383"/>
                <a:gd name="T59" fmla="*/ 598 h 1445"/>
                <a:gd name="T60" fmla="*/ 28 w 2383"/>
                <a:gd name="T61" fmla="*/ 488 h 1445"/>
                <a:gd name="T62" fmla="*/ 69 w 2383"/>
                <a:gd name="T63" fmla="*/ 383 h 1445"/>
                <a:gd name="T64" fmla="*/ 126 w 2383"/>
                <a:gd name="T65" fmla="*/ 284 h 1445"/>
                <a:gd name="T66" fmla="*/ 198 w 2383"/>
                <a:gd name="T67" fmla="*/ 196 h 1445"/>
                <a:gd name="T68" fmla="*/ 282 w 2383"/>
                <a:gd name="T69" fmla="*/ 122 h 1445"/>
                <a:gd name="T70" fmla="*/ 380 w 2383"/>
                <a:gd name="T71" fmla="*/ 60 h 1445"/>
                <a:gd name="T72" fmla="*/ 488 w 2383"/>
                <a:gd name="T73" fmla="*/ 14 h 1445"/>
                <a:gd name="T74" fmla="*/ 545 w 2383"/>
                <a:gd name="T75" fmla="*/ 0 h 1445"/>
                <a:gd name="T76" fmla="*/ 603 w 2383"/>
                <a:gd name="T77" fmla="*/ 14 h 1445"/>
                <a:gd name="T78" fmla="*/ 775 w 2383"/>
                <a:gd name="T79" fmla="*/ 76 h 1445"/>
                <a:gd name="T80" fmla="*/ 1007 w 2383"/>
                <a:gd name="T81" fmla="*/ 170 h 1445"/>
                <a:gd name="T82" fmla="*/ 1419 w 2383"/>
                <a:gd name="T83" fmla="*/ 349 h 1445"/>
                <a:gd name="T84" fmla="*/ 1977 w 2383"/>
                <a:gd name="T85" fmla="*/ 603 h 1445"/>
                <a:gd name="T86" fmla="*/ 2383 w 2383"/>
                <a:gd name="T87" fmla="*/ 792 h 1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383" h="1445">
                  <a:moveTo>
                    <a:pt x="2383" y="792"/>
                  </a:moveTo>
                  <a:lnTo>
                    <a:pt x="2383" y="792"/>
                  </a:lnTo>
                  <a:lnTo>
                    <a:pt x="2293" y="868"/>
                  </a:lnTo>
                  <a:lnTo>
                    <a:pt x="2199" y="940"/>
                  </a:lnTo>
                  <a:lnTo>
                    <a:pt x="2103" y="1012"/>
                  </a:lnTo>
                  <a:lnTo>
                    <a:pt x="2000" y="1077"/>
                  </a:lnTo>
                  <a:lnTo>
                    <a:pt x="1898" y="1139"/>
                  </a:lnTo>
                  <a:lnTo>
                    <a:pt x="1792" y="1196"/>
                  </a:lnTo>
                  <a:lnTo>
                    <a:pt x="1682" y="1247"/>
                  </a:lnTo>
                  <a:lnTo>
                    <a:pt x="1572" y="1294"/>
                  </a:lnTo>
                  <a:lnTo>
                    <a:pt x="1462" y="1335"/>
                  </a:lnTo>
                  <a:lnTo>
                    <a:pt x="1407" y="1354"/>
                  </a:lnTo>
                  <a:lnTo>
                    <a:pt x="1352" y="1371"/>
                  </a:lnTo>
                  <a:lnTo>
                    <a:pt x="1294" y="1385"/>
                  </a:lnTo>
                  <a:lnTo>
                    <a:pt x="1239" y="1400"/>
                  </a:lnTo>
                  <a:lnTo>
                    <a:pt x="1184" y="1412"/>
                  </a:lnTo>
                  <a:lnTo>
                    <a:pt x="1129" y="1421"/>
                  </a:lnTo>
                  <a:lnTo>
                    <a:pt x="1074" y="1431"/>
                  </a:lnTo>
                  <a:lnTo>
                    <a:pt x="1019" y="1436"/>
                  </a:lnTo>
                  <a:lnTo>
                    <a:pt x="964" y="1443"/>
                  </a:lnTo>
                  <a:lnTo>
                    <a:pt x="911" y="1445"/>
                  </a:lnTo>
                  <a:lnTo>
                    <a:pt x="856" y="1445"/>
                  </a:lnTo>
                  <a:lnTo>
                    <a:pt x="804" y="1445"/>
                  </a:lnTo>
                  <a:lnTo>
                    <a:pt x="751" y="1443"/>
                  </a:lnTo>
                  <a:lnTo>
                    <a:pt x="701" y="1438"/>
                  </a:lnTo>
                  <a:lnTo>
                    <a:pt x="701" y="1438"/>
                  </a:lnTo>
                  <a:lnTo>
                    <a:pt x="660" y="1433"/>
                  </a:lnTo>
                  <a:lnTo>
                    <a:pt x="624" y="1428"/>
                  </a:lnTo>
                  <a:lnTo>
                    <a:pt x="586" y="1419"/>
                  </a:lnTo>
                  <a:lnTo>
                    <a:pt x="550" y="1412"/>
                  </a:lnTo>
                  <a:lnTo>
                    <a:pt x="514" y="1400"/>
                  </a:lnTo>
                  <a:lnTo>
                    <a:pt x="478" y="1388"/>
                  </a:lnTo>
                  <a:lnTo>
                    <a:pt x="445" y="1376"/>
                  </a:lnTo>
                  <a:lnTo>
                    <a:pt x="411" y="1361"/>
                  </a:lnTo>
                  <a:lnTo>
                    <a:pt x="380" y="1345"/>
                  </a:lnTo>
                  <a:lnTo>
                    <a:pt x="349" y="1328"/>
                  </a:lnTo>
                  <a:lnTo>
                    <a:pt x="318" y="1309"/>
                  </a:lnTo>
                  <a:lnTo>
                    <a:pt x="289" y="1290"/>
                  </a:lnTo>
                  <a:lnTo>
                    <a:pt x="263" y="1268"/>
                  </a:lnTo>
                  <a:lnTo>
                    <a:pt x="236" y="1247"/>
                  </a:lnTo>
                  <a:lnTo>
                    <a:pt x="210" y="1223"/>
                  </a:lnTo>
                  <a:lnTo>
                    <a:pt x="186" y="1199"/>
                  </a:lnTo>
                  <a:lnTo>
                    <a:pt x="165" y="1172"/>
                  </a:lnTo>
                  <a:lnTo>
                    <a:pt x="143" y="1146"/>
                  </a:lnTo>
                  <a:lnTo>
                    <a:pt x="122" y="1117"/>
                  </a:lnTo>
                  <a:lnTo>
                    <a:pt x="105" y="1089"/>
                  </a:lnTo>
                  <a:lnTo>
                    <a:pt x="86" y="1058"/>
                  </a:lnTo>
                  <a:lnTo>
                    <a:pt x="71" y="1026"/>
                  </a:lnTo>
                  <a:lnTo>
                    <a:pt x="57" y="995"/>
                  </a:lnTo>
                  <a:lnTo>
                    <a:pt x="43" y="962"/>
                  </a:lnTo>
                  <a:lnTo>
                    <a:pt x="33" y="926"/>
                  </a:lnTo>
                  <a:lnTo>
                    <a:pt x="23" y="890"/>
                  </a:lnTo>
                  <a:lnTo>
                    <a:pt x="14" y="854"/>
                  </a:lnTo>
                  <a:lnTo>
                    <a:pt x="9" y="816"/>
                  </a:lnTo>
                  <a:lnTo>
                    <a:pt x="4" y="777"/>
                  </a:lnTo>
                  <a:lnTo>
                    <a:pt x="0" y="737"/>
                  </a:lnTo>
                  <a:lnTo>
                    <a:pt x="0" y="696"/>
                  </a:lnTo>
                  <a:lnTo>
                    <a:pt x="0" y="655"/>
                  </a:lnTo>
                  <a:lnTo>
                    <a:pt x="0" y="655"/>
                  </a:lnTo>
                  <a:lnTo>
                    <a:pt x="4" y="598"/>
                  </a:lnTo>
                  <a:lnTo>
                    <a:pt x="14" y="543"/>
                  </a:lnTo>
                  <a:lnTo>
                    <a:pt x="28" y="488"/>
                  </a:lnTo>
                  <a:lnTo>
                    <a:pt x="45" y="433"/>
                  </a:lnTo>
                  <a:lnTo>
                    <a:pt x="69" y="383"/>
                  </a:lnTo>
                  <a:lnTo>
                    <a:pt x="95" y="332"/>
                  </a:lnTo>
                  <a:lnTo>
                    <a:pt x="126" y="284"/>
                  </a:lnTo>
                  <a:lnTo>
                    <a:pt x="160" y="239"/>
                  </a:lnTo>
                  <a:lnTo>
                    <a:pt x="198" y="196"/>
                  </a:lnTo>
                  <a:lnTo>
                    <a:pt x="239" y="158"/>
                  </a:lnTo>
                  <a:lnTo>
                    <a:pt x="282" y="122"/>
                  </a:lnTo>
                  <a:lnTo>
                    <a:pt x="330" y="88"/>
                  </a:lnTo>
                  <a:lnTo>
                    <a:pt x="380" y="60"/>
                  </a:lnTo>
                  <a:lnTo>
                    <a:pt x="433" y="36"/>
                  </a:lnTo>
                  <a:lnTo>
                    <a:pt x="488" y="14"/>
                  </a:lnTo>
                  <a:lnTo>
                    <a:pt x="545" y="0"/>
                  </a:lnTo>
                  <a:lnTo>
                    <a:pt x="545" y="0"/>
                  </a:lnTo>
                  <a:lnTo>
                    <a:pt x="572" y="4"/>
                  </a:lnTo>
                  <a:lnTo>
                    <a:pt x="603" y="14"/>
                  </a:lnTo>
                  <a:lnTo>
                    <a:pt x="679" y="40"/>
                  </a:lnTo>
                  <a:lnTo>
                    <a:pt x="775" y="76"/>
                  </a:lnTo>
                  <a:lnTo>
                    <a:pt x="885" y="119"/>
                  </a:lnTo>
                  <a:lnTo>
                    <a:pt x="1007" y="170"/>
                  </a:lnTo>
                  <a:lnTo>
                    <a:pt x="1139" y="227"/>
                  </a:lnTo>
                  <a:lnTo>
                    <a:pt x="1419" y="349"/>
                  </a:lnTo>
                  <a:lnTo>
                    <a:pt x="1706" y="478"/>
                  </a:lnTo>
                  <a:lnTo>
                    <a:pt x="1977" y="603"/>
                  </a:lnTo>
                  <a:lnTo>
                    <a:pt x="2383" y="792"/>
                  </a:lnTo>
                  <a:lnTo>
                    <a:pt x="2383" y="792"/>
                  </a:lnTo>
                  <a:close/>
                </a:path>
              </a:pathLst>
            </a:custGeom>
            <a:noFill/>
            <a:ln w="19050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-225" y="931"/>
              <a:ext cx="1426" cy="2377"/>
            </a:xfrm>
            <a:custGeom>
              <a:avLst/>
              <a:gdLst>
                <a:gd name="T0" fmla="*/ 1426 w 1426"/>
                <a:gd name="T1" fmla="*/ 1946 h 2377"/>
                <a:gd name="T2" fmla="*/ 1371 w 1426"/>
                <a:gd name="T3" fmla="*/ 2039 h 2377"/>
                <a:gd name="T4" fmla="*/ 1304 w 1426"/>
                <a:gd name="T5" fmla="*/ 2121 h 2377"/>
                <a:gd name="T6" fmla="*/ 1225 w 1426"/>
                <a:gd name="T7" fmla="*/ 2190 h 2377"/>
                <a:gd name="T8" fmla="*/ 1139 w 1426"/>
                <a:gd name="T9" fmla="*/ 2250 h 2377"/>
                <a:gd name="T10" fmla="*/ 1046 w 1426"/>
                <a:gd name="T11" fmla="*/ 2300 h 2377"/>
                <a:gd name="T12" fmla="*/ 948 w 1426"/>
                <a:gd name="T13" fmla="*/ 2336 h 2377"/>
                <a:gd name="T14" fmla="*/ 845 w 1426"/>
                <a:gd name="T15" fmla="*/ 2362 h 2377"/>
                <a:gd name="T16" fmla="*/ 739 w 1426"/>
                <a:gd name="T17" fmla="*/ 2374 h 2377"/>
                <a:gd name="T18" fmla="*/ 703 w 1426"/>
                <a:gd name="T19" fmla="*/ 2377 h 2377"/>
                <a:gd name="T20" fmla="*/ 632 w 1426"/>
                <a:gd name="T21" fmla="*/ 2374 h 2377"/>
                <a:gd name="T22" fmla="*/ 562 w 1426"/>
                <a:gd name="T23" fmla="*/ 2365 h 2377"/>
                <a:gd name="T24" fmla="*/ 495 w 1426"/>
                <a:gd name="T25" fmla="*/ 2348 h 2377"/>
                <a:gd name="T26" fmla="*/ 431 w 1426"/>
                <a:gd name="T27" fmla="*/ 2327 h 2377"/>
                <a:gd name="T28" fmla="*/ 368 w 1426"/>
                <a:gd name="T29" fmla="*/ 2298 h 2377"/>
                <a:gd name="T30" fmla="*/ 309 w 1426"/>
                <a:gd name="T31" fmla="*/ 2262 h 2377"/>
                <a:gd name="T32" fmla="*/ 251 w 1426"/>
                <a:gd name="T33" fmla="*/ 2221 h 2377"/>
                <a:gd name="T34" fmla="*/ 201 w 1426"/>
                <a:gd name="T35" fmla="*/ 2173 h 2377"/>
                <a:gd name="T36" fmla="*/ 153 w 1426"/>
                <a:gd name="T37" fmla="*/ 2121 h 2377"/>
                <a:gd name="T38" fmla="*/ 112 w 1426"/>
                <a:gd name="T39" fmla="*/ 2061 h 2377"/>
                <a:gd name="T40" fmla="*/ 76 w 1426"/>
                <a:gd name="T41" fmla="*/ 1996 h 2377"/>
                <a:gd name="T42" fmla="*/ 45 w 1426"/>
                <a:gd name="T43" fmla="*/ 1927 h 2377"/>
                <a:gd name="T44" fmla="*/ 24 w 1426"/>
                <a:gd name="T45" fmla="*/ 1853 h 2377"/>
                <a:gd name="T46" fmla="*/ 7 w 1426"/>
                <a:gd name="T47" fmla="*/ 1771 h 2377"/>
                <a:gd name="T48" fmla="*/ 0 w 1426"/>
                <a:gd name="T49" fmla="*/ 1688 h 2377"/>
                <a:gd name="T50" fmla="*/ 0 w 1426"/>
                <a:gd name="T51" fmla="*/ 1642 h 2377"/>
                <a:gd name="T52" fmla="*/ 5 w 1426"/>
                <a:gd name="T53" fmla="*/ 1544 h 2377"/>
                <a:gd name="T54" fmla="*/ 19 w 1426"/>
                <a:gd name="T55" fmla="*/ 1441 h 2377"/>
                <a:gd name="T56" fmla="*/ 40 w 1426"/>
                <a:gd name="T57" fmla="*/ 1336 h 2377"/>
                <a:gd name="T58" fmla="*/ 72 w 1426"/>
                <a:gd name="T59" fmla="*/ 1228 h 2377"/>
                <a:gd name="T60" fmla="*/ 107 w 1426"/>
                <a:gd name="T61" fmla="*/ 1118 h 2377"/>
                <a:gd name="T62" fmla="*/ 153 w 1426"/>
                <a:gd name="T63" fmla="*/ 1008 h 2377"/>
                <a:gd name="T64" fmla="*/ 206 w 1426"/>
                <a:gd name="T65" fmla="*/ 898 h 2377"/>
                <a:gd name="T66" fmla="*/ 263 w 1426"/>
                <a:gd name="T67" fmla="*/ 790 h 2377"/>
                <a:gd name="T68" fmla="*/ 328 w 1426"/>
                <a:gd name="T69" fmla="*/ 680 h 2377"/>
                <a:gd name="T70" fmla="*/ 474 w 1426"/>
                <a:gd name="T71" fmla="*/ 469 h 2377"/>
                <a:gd name="T72" fmla="*/ 596 w 1426"/>
                <a:gd name="T73" fmla="*/ 319 h 2377"/>
                <a:gd name="T74" fmla="*/ 684 w 1426"/>
                <a:gd name="T75" fmla="*/ 220 h 2377"/>
                <a:gd name="T76" fmla="*/ 775 w 1426"/>
                <a:gd name="T77" fmla="*/ 130 h 2377"/>
                <a:gd name="T78" fmla="*/ 871 w 1426"/>
                <a:gd name="T79" fmla="*/ 41 h 2377"/>
                <a:gd name="T80" fmla="*/ 919 w 1426"/>
                <a:gd name="T81" fmla="*/ 0 h 2377"/>
                <a:gd name="T82" fmla="*/ 1058 w 1426"/>
                <a:gd name="T83" fmla="*/ 479 h 2377"/>
                <a:gd name="T84" fmla="*/ 1232 w 1426"/>
                <a:gd name="T85" fmla="*/ 1104 h 2377"/>
                <a:gd name="T86" fmla="*/ 1352 w 1426"/>
                <a:gd name="T87" fmla="*/ 1575 h 2377"/>
                <a:gd name="T88" fmla="*/ 1410 w 1426"/>
                <a:gd name="T89" fmla="*/ 1841 h 2377"/>
                <a:gd name="T90" fmla="*/ 1426 w 1426"/>
                <a:gd name="T91" fmla="*/ 1946 h 2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26" h="2377">
                  <a:moveTo>
                    <a:pt x="1426" y="1946"/>
                  </a:moveTo>
                  <a:lnTo>
                    <a:pt x="1426" y="1946"/>
                  </a:lnTo>
                  <a:lnTo>
                    <a:pt x="1400" y="1994"/>
                  </a:lnTo>
                  <a:lnTo>
                    <a:pt x="1371" y="2039"/>
                  </a:lnTo>
                  <a:lnTo>
                    <a:pt x="1338" y="2080"/>
                  </a:lnTo>
                  <a:lnTo>
                    <a:pt x="1304" y="2121"/>
                  </a:lnTo>
                  <a:lnTo>
                    <a:pt x="1266" y="2157"/>
                  </a:lnTo>
                  <a:lnTo>
                    <a:pt x="1225" y="2190"/>
                  </a:lnTo>
                  <a:lnTo>
                    <a:pt x="1182" y="2221"/>
                  </a:lnTo>
                  <a:lnTo>
                    <a:pt x="1139" y="2250"/>
                  </a:lnTo>
                  <a:lnTo>
                    <a:pt x="1094" y="2276"/>
                  </a:lnTo>
                  <a:lnTo>
                    <a:pt x="1046" y="2300"/>
                  </a:lnTo>
                  <a:lnTo>
                    <a:pt x="998" y="2319"/>
                  </a:lnTo>
                  <a:lnTo>
                    <a:pt x="948" y="2336"/>
                  </a:lnTo>
                  <a:lnTo>
                    <a:pt x="897" y="2350"/>
                  </a:lnTo>
                  <a:lnTo>
                    <a:pt x="845" y="2362"/>
                  </a:lnTo>
                  <a:lnTo>
                    <a:pt x="792" y="2370"/>
                  </a:lnTo>
                  <a:lnTo>
                    <a:pt x="739" y="2374"/>
                  </a:lnTo>
                  <a:lnTo>
                    <a:pt x="739" y="2374"/>
                  </a:lnTo>
                  <a:lnTo>
                    <a:pt x="703" y="2377"/>
                  </a:lnTo>
                  <a:lnTo>
                    <a:pt x="668" y="2377"/>
                  </a:lnTo>
                  <a:lnTo>
                    <a:pt x="632" y="2374"/>
                  </a:lnTo>
                  <a:lnTo>
                    <a:pt x="598" y="2370"/>
                  </a:lnTo>
                  <a:lnTo>
                    <a:pt x="562" y="2365"/>
                  </a:lnTo>
                  <a:lnTo>
                    <a:pt x="529" y="2358"/>
                  </a:lnTo>
                  <a:lnTo>
                    <a:pt x="495" y="2348"/>
                  </a:lnTo>
                  <a:lnTo>
                    <a:pt x="462" y="2339"/>
                  </a:lnTo>
                  <a:lnTo>
                    <a:pt x="431" y="2327"/>
                  </a:lnTo>
                  <a:lnTo>
                    <a:pt x="400" y="2312"/>
                  </a:lnTo>
                  <a:lnTo>
                    <a:pt x="368" y="2298"/>
                  </a:lnTo>
                  <a:lnTo>
                    <a:pt x="337" y="2281"/>
                  </a:lnTo>
                  <a:lnTo>
                    <a:pt x="309" y="2262"/>
                  </a:lnTo>
                  <a:lnTo>
                    <a:pt x="280" y="2243"/>
                  </a:lnTo>
                  <a:lnTo>
                    <a:pt x="251" y="2221"/>
                  </a:lnTo>
                  <a:lnTo>
                    <a:pt x="225" y="2197"/>
                  </a:lnTo>
                  <a:lnTo>
                    <a:pt x="201" y="2173"/>
                  </a:lnTo>
                  <a:lnTo>
                    <a:pt x="177" y="2147"/>
                  </a:lnTo>
                  <a:lnTo>
                    <a:pt x="153" y="2121"/>
                  </a:lnTo>
                  <a:lnTo>
                    <a:pt x="131" y="2092"/>
                  </a:lnTo>
                  <a:lnTo>
                    <a:pt x="112" y="2061"/>
                  </a:lnTo>
                  <a:lnTo>
                    <a:pt x="93" y="2030"/>
                  </a:lnTo>
                  <a:lnTo>
                    <a:pt x="76" y="1996"/>
                  </a:lnTo>
                  <a:lnTo>
                    <a:pt x="60" y="1963"/>
                  </a:lnTo>
                  <a:lnTo>
                    <a:pt x="45" y="1927"/>
                  </a:lnTo>
                  <a:lnTo>
                    <a:pt x="33" y="1891"/>
                  </a:lnTo>
                  <a:lnTo>
                    <a:pt x="24" y="1853"/>
                  </a:lnTo>
                  <a:lnTo>
                    <a:pt x="14" y="1812"/>
                  </a:lnTo>
                  <a:lnTo>
                    <a:pt x="7" y="1771"/>
                  </a:lnTo>
                  <a:lnTo>
                    <a:pt x="2" y="1731"/>
                  </a:lnTo>
                  <a:lnTo>
                    <a:pt x="0" y="1688"/>
                  </a:lnTo>
                  <a:lnTo>
                    <a:pt x="0" y="1642"/>
                  </a:lnTo>
                  <a:lnTo>
                    <a:pt x="0" y="1642"/>
                  </a:lnTo>
                  <a:lnTo>
                    <a:pt x="2" y="1594"/>
                  </a:lnTo>
                  <a:lnTo>
                    <a:pt x="5" y="1544"/>
                  </a:lnTo>
                  <a:lnTo>
                    <a:pt x="12" y="1491"/>
                  </a:lnTo>
                  <a:lnTo>
                    <a:pt x="19" y="1441"/>
                  </a:lnTo>
                  <a:lnTo>
                    <a:pt x="29" y="1388"/>
                  </a:lnTo>
                  <a:lnTo>
                    <a:pt x="40" y="1336"/>
                  </a:lnTo>
                  <a:lnTo>
                    <a:pt x="55" y="1281"/>
                  </a:lnTo>
                  <a:lnTo>
                    <a:pt x="72" y="1228"/>
                  </a:lnTo>
                  <a:lnTo>
                    <a:pt x="88" y="1173"/>
                  </a:lnTo>
                  <a:lnTo>
                    <a:pt x="107" y="1118"/>
                  </a:lnTo>
                  <a:lnTo>
                    <a:pt x="131" y="1063"/>
                  </a:lnTo>
                  <a:lnTo>
                    <a:pt x="153" y="1008"/>
                  </a:lnTo>
                  <a:lnTo>
                    <a:pt x="179" y="953"/>
                  </a:lnTo>
                  <a:lnTo>
                    <a:pt x="206" y="898"/>
                  </a:lnTo>
                  <a:lnTo>
                    <a:pt x="234" y="843"/>
                  </a:lnTo>
                  <a:lnTo>
                    <a:pt x="263" y="790"/>
                  </a:lnTo>
                  <a:lnTo>
                    <a:pt x="294" y="735"/>
                  </a:lnTo>
                  <a:lnTo>
                    <a:pt x="328" y="680"/>
                  </a:lnTo>
                  <a:lnTo>
                    <a:pt x="397" y="575"/>
                  </a:lnTo>
                  <a:lnTo>
                    <a:pt x="474" y="469"/>
                  </a:lnTo>
                  <a:lnTo>
                    <a:pt x="555" y="366"/>
                  </a:lnTo>
                  <a:lnTo>
                    <a:pt x="596" y="319"/>
                  </a:lnTo>
                  <a:lnTo>
                    <a:pt x="639" y="268"/>
                  </a:lnTo>
                  <a:lnTo>
                    <a:pt x="684" y="220"/>
                  </a:lnTo>
                  <a:lnTo>
                    <a:pt x="727" y="175"/>
                  </a:lnTo>
                  <a:lnTo>
                    <a:pt x="775" y="130"/>
                  </a:lnTo>
                  <a:lnTo>
                    <a:pt x="821" y="84"/>
                  </a:lnTo>
                  <a:lnTo>
                    <a:pt x="871" y="41"/>
                  </a:lnTo>
                  <a:lnTo>
                    <a:pt x="919" y="0"/>
                  </a:lnTo>
                  <a:lnTo>
                    <a:pt x="919" y="0"/>
                  </a:lnTo>
                  <a:lnTo>
                    <a:pt x="988" y="232"/>
                  </a:lnTo>
                  <a:lnTo>
                    <a:pt x="1058" y="479"/>
                  </a:lnTo>
                  <a:lnTo>
                    <a:pt x="1144" y="781"/>
                  </a:lnTo>
                  <a:lnTo>
                    <a:pt x="1232" y="1104"/>
                  </a:lnTo>
                  <a:lnTo>
                    <a:pt x="1314" y="1424"/>
                  </a:lnTo>
                  <a:lnTo>
                    <a:pt x="1352" y="1575"/>
                  </a:lnTo>
                  <a:lnTo>
                    <a:pt x="1383" y="1714"/>
                  </a:lnTo>
                  <a:lnTo>
                    <a:pt x="1410" y="1841"/>
                  </a:lnTo>
                  <a:lnTo>
                    <a:pt x="1426" y="1946"/>
                  </a:lnTo>
                  <a:lnTo>
                    <a:pt x="1426" y="1946"/>
                  </a:lnTo>
                  <a:close/>
                </a:path>
              </a:pathLst>
            </a:custGeom>
            <a:noFill/>
            <a:ln w="19050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auto">
            <a:xfrm>
              <a:off x="1149" y="338"/>
              <a:ext cx="1101" cy="1914"/>
            </a:xfrm>
            <a:custGeom>
              <a:avLst/>
              <a:gdLst>
                <a:gd name="T0" fmla="*/ 1096 w 1101"/>
                <a:gd name="T1" fmla="*/ 1651 h 1914"/>
                <a:gd name="T2" fmla="*/ 1055 w 1101"/>
                <a:gd name="T3" fmla="*/ 1706 h 1914"/>
                <a:gd name="T4" fmla="*/ 1007 w 1101"/>
                <a:gd name="T5" fmla="*/ 1756 h 1914"/>
                <a:gd name="T6" fmla="*/ 955 w 1101"/>
                <a:gd name="T7" fmla="*/ 1800 h 1914"/>
                <a:gd name="T8" fmla="*/ 895 w 1101"/>
                <a:gd name="T9" fmla="*/ 1835 h 1914"/>
                <a:gd name="T10" fmla="*/ 830 w 1101"/>
                <a:gd name="T11" fmla="*/ 1867 h 1914"/>
                <a:gd name="T12" fmla="*/ 761 w 1101"/>
                <a:gd name="T13" fmla="*/ 1890 h 1914"/>
                <a:gd name="T14" fmla="*/ 687 w 1101"/>
                <a:gd name="T15" fmla="*/ 1905 h 1914"/>
                <a:gd name="T16" fmla="*/ 610 w 1101"/>
                <a:gd name="T17" fmla="*/ 1914 h 1914"/>
                <a:gd name="T18" fmla="*/ 577 w 1101"/>
                <a:gd name="T19" fmla="*/ 1914 h 1914"/>
                <a:gd name="T20" fmla="*/ 514 w 1101"/>
                <a:gd name="T21" fmla="*/ 1910 h 1914"/>
                <a:gd name="T22" fmla="*/ 452 w 1101"/>
                <a:gd name="T23" fmla="*/ 1900 h 1914"/>
                <a:gd name="T24" fmla="*/ 395 w 1101"/>
                <a:gd name="T25" fmla="*/ 1881 h 1914"/>
                <a:gd name="T26" fmla="*/ 340 w 1101"/>
                <a:gd name="T27" fmla="*/ 1859 h 1914"/>
                <a:gd name="T28" fmla="*/ 287 w 1101"/>
                <a:gd name="T29" fmla="*/ 1831 h 1914"/>
                <a:gd name="T30" fmla="*/ 239 w 1101"/>
                <a:gd name="T31" fmla="*/ 1797 h 1914"/>
                <a:gd name="T32" fmla="*/ 172 w 1101"/>
                <a:gd name="T33" fmla="*/ 1737 h 1914"/>
                <a:gd name="T34" fmla="*/ 100 w 1101"/>
                <a:gd name="T35" fmla="*/ 1646 h 1914"/>
                <a:gd name="T36" fmla="*/ 45 w 1101"/>
                <a:gd name="T37" fmla="*/ 1546 h 1914"/>
                <a:gd name="T38" fmla="*/ 9 w 1101"/>
                <a:gd name="T39" fmla="*/ 1436 h 1914"/>
                <a:gd name="T40" fmla="*/ 2 w 1101"/>
                <a:gd name="T41" fmla="*/ 1378 h 1914"/>
                <a:gd name="T42" fmla="*/ 0 w 1101"/>
                <a:gd name="T43" fmla="*/ 1323 h 1914"/>
                <a:gd name="T44" fmla="*/ 0 w 1101"/>
                <a:gd name="T45" fmla="*/ 1271 h 1914"/>
                <a:gd name="T46" fmla="*/ 14 w 1101"/>
                <a:gd name="T47" fmla="*/ 1168 h 1914"/>
                <a:gd name="T48" fmla="*/ 36 w 1101"/>
                <a:gd name="T49" fmla="*/ 1067 h 1914"/>
                <a:gd name="T50" fmla="*/ 69 w 1101"/>
                <a:gd name="T51" fmla="*/ 969 h 1914"/>
                <a:gd name="T52" fmla="*/ 112 w 1101"/>
                <a:gd name="T53" fmla="*/ 871 h 1914"/>
                <a:gd name="T54" fmla="*/ 162 w 1101"/>
                <a:gd name="T55" fmla="*/ 778 h 1914"/>
                <a:gd name="T56" fmla="*/ 220 w 1101"/>
                <a:gd name="T57" fmla="*/ 687 h 1914"/>
                <a:gd name="T58" fmla="*/ 284 w 1101"/>
                <a:gd name="T59" fmla="*/ 600 h 1914"/>
                <a:gd name="T60" fmla="*/ 356 w 1101"/>
                <a:gd name="T61" fmla="*/ 517 h 1914"/>
                <a:gd name="T62" fmla="*/ 474 w 1101"/>
                <a:gd name="T63" fmla="*/ 395 h 1914"/>
                <a:gd name="T64" fmla="*/ 641 w 1101"/>
                <a:gd name="T65" fmla="*/ 246 h 1914"/>
                <a:gd name="T66" fmla="*/ 818 w 1101"/>
                <a:gd name="T67" fmla="*/ 115 h 1914"/>
                <a:gd name="T68" fmla="*/ 998 w 1101"/>
                <a:gd name="T69" fmla="*/ 0 h 1914"/>
                <a:gd name="T70" fmla="*/ 1017 w 1101"/>
                <a:gd name="T71" fmla="*/ 170 h 1914"/>
                <a:gd name="T72" fmla="*/ 1055 w 1101"/>
                <a:gd name="T73" fmla="*/ 608 h 1914"/>
                <a:gd name="T74" fmla="*/ 1089 w 1101"/>
                <a:gd name="T75" fmla="*/ 1086 h 1914"/>
                <a:gd name="T76" fmla="*/ 1101 w 1101"/>
                <a:gd name="T77" fmla="*/ 1409 h 1914"/>
                <a:gd name="T78" fmla="*/ 1101 w 1101"/>
                <a:gd name="T79" fmla="*/ 1582 h 1914"/>
                <a:gd name="T80" fmla="*/ 1096 w 1101"/>
                <a:gd name="T81" fmla="*/ 1651 h 1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01" h="1914">
                  <a:moveTo>
                    <a:pt x="1096" y="1651"/>
                  </a:moveTo>
                  <a:lnTo>
                    <a:pt x="1096" y="1651"/>
                  </a:lnTo>
                  <a:lnTo>
                    <a:pt x="1077" y="1680"/>
                  </a:lnTo>
                  <a:lnTo>
                    <a:pt x="1055" y="1706"/>
                  </a:lnTo>
                  <a:lnTo>
                    <a:pt x="1031" y="1733"/>
                  </a:lnTo>
                  <a:lnTo>
                    <a:pt x="1007" y="1756"/>
                  </a:lnTo>
                  <a:lnTo>
                    <a:pt x="981" y="1778"/>
                  </a:lnTo>
                  <a:lnTo>
                    <a:pt x="955" y="1800"/>
                  </a:lnTo>
                  <a:lnTo>
                    <a:pt x="924" y="1819"/>
                  </a:lnTo>
                  <a:lnTo>
                    <a:pt x="895" y="1835"/>
                  </a:lnTo>
                  <a:lnTo>
                    <a:pt x="864" y="1852"/>
                  </a:lnTo>
                  <a:lnTo>
                    <a:pt x="830" y="1867"/>
                  </a:lnTo>
                  <a:lnTo>
                    <a:pt x="797" y="1878"/>
                  </a:lnTo>
                  <a:lnTo>
                    <a:pt x="761" y="1890"/>
                  </a:lnTo>
                  <a:lnTo>
                    <a:pt x="725" y="1898"/>
                  </a:lnTo>
                  <a:lnTo>
                    <a:pt x="687" y="1905"/>
                  </a:lnTo>
                  <a:lnTo>
                    <a:pt x="648" y="1910"/>
                  </a:lnTo>
                  <a:lnTo>
                    <a:pt x="610" y="1914"/>
                  </a:lnTo>
                  <a:lnTo>
                    <a:pt x="610" y="1914"/>
                  </a:lnTo>
                  <a:lnTo>
                    <a:pt x="577" y="1914"/>
                  </a:lnTo>
                  <a:lnTo>
                    <a:pt x="545" y="1912"/>
                  </a:lnTo>
                  <a:lnTo>
                    <a:pt x="514" y="1910"/>
                  </a:lnTo>
                  <a:lnTo>
                    <a:pt x="483" y="1905"/>
                  </a:lnTo>
                  <a:lnTo>
                    <a:pt x="452" y="1900"/>
                  </a:lnTo>
                  <a:lnTo>
                    <a:pt x="423" y="1890"/>
                  </a:lnTo>
                  <a:lnTo>
                    <a:pt x="395" y="1881"/>
                  </a:lnTo>
                  <a:lnTo>
                    <a:pt x="366" y="1871"/>
                  </a:lnTo>
                  <a:lnTo>
                    <a:pt x="340" y="1859"/>
                  </a:lnTo>
                  <a:lnTo>
                    <a:pt x="313" y="1845"/>
                  </a:lnTo>
                  <a:lnTo>
                    <a:pt x="287" y="1831"/>
                  </a:lnTo>
                  <a:lnTo>
                    <a:pt x="263" y="1814"/>
                  </a:lnTo>
                  <a:lnTo>
                    <a:pt x="239" y="1797"/>
                  </a:lnTo>
                  <a:lnTo>
                    <a:pt x="215" y="1778"/>
                  </a:lnTo>
                  <a:lnTo>
                    <a:pt x="172" y="1737"/>
                  </a:lnTo>
                  <a:lnTo>
                    <a:pt x="134" y="1694"/>
                  </a:lnTo>
                  <a:lnTo>
                    <a:pt x="100" y="1646"/>
                  </a:lnTo>
                  <a:lnTo>
                    <a:pt x="69" y="1596"/>
                  </a:lnTo>
                  <a:lnTo>
                    <a:pt x="45" y="1546"/>
                  </a:lnTo>
                  <a:lnTo>
                    <a:pt x="24" y="1491"/>
                  </a:lnTo>
                  <a:lnTo>
                    <a:pt x="9" y="1436"/>
                  </a:lnTo>
                  <a:lnTo>
                    <a:pt x="4" y="1407"/>
                  </a:lnTo>
                  <a:lnTo>
                    <a:pt x="2" y="1378"/>
                  </a:lnTo>
                  <a:lnTo>
                    <a:pt x="0" y="1350"/>
                  </a:lnTo>
                  <a:lnTo>
                    <a:pt x="0" y="1323"/>
                  </a:lnTo>
                  <a:lnTo>
                    <a:pt x="0" y="1323"/>
                  </a:lnTo>
                  <a:lnTo>
                    <a:pt x="0" y="1271"/>
                  </a:lnTo>
                  <a:lnTo>
                    <a:pt x="4" y="1218"/>
                  </a:lnTo>
                  <a:lnTo>
                    <a:pt x="14" y="1168"/>
                  </a:lnTo>
                  <a:lnTo>
                    <a:pt x="24" y="1117"/>
                  </a:lnTo>
                  <a:lnTo>
                    <a:pt x="36" y="1067"/>
                  </a:lnTo>
                  <a:lnTo>
                    <a:pt x="52" y="1017"/>
                  </a:lnTo>
                  <a:lnTo>
                    <a:pt x="69" y="969"/>
                  </a:lnTo>
                  <a:lnTo>
                    <a:pt x="88" y="919"/>
                  </a:lnTo>
                  <a:lnTo>
                    <a:pt x="112" y="871"/>
                  </a:lnTo>
                  <a:lnTo>
                    <a:pt x="136" y="825"/>
                  </a:lnTo>
                  <a:lnTo>
                    <a:pt x="162" y="778"/>
                  </a:lnTo>
                  <a:lnTo>
                    <a:pt x="191" y="732"/>
                  </a:lnTo>
                  <a:lnTo>
                    <a:pt x="220" y="687"/>
                  </a:lnTo>
                  <a:lnTo>
                    <a:pt x="253" y="644"/>
                  </a:lnTo>
                  <a:lnTo>
                    <a:pt x="284" y="600"/>
                  </a:lnTo>
                  <a:lnTo>
                    <a:pt x="320" y="557"/>
                  </a:lnTo>
                  <a:lnTo>
                    <a:pt x="356" y="517"/>
                  </a:lnTo>
                  <a:lnTo>
                    <a:pt x="395" y="474"/>
                  </a:lnTo>
                  <a:lnTo>
                    <a:pt x="474" y="395"/>
                  </a:lnTo>
                  <a:lnTo>
                    <a:pt x="555" y="320"/>
                  </a:lnTo>
                  <a:lnTo>
                    <a:pt x="641" y="246"/>
                  </a:lnTo>
                  <a:lnTo>
                    <a:pt x="727" y="179"/>
                  </a:lnTo>
                  <a:lnTo>
                    <a:pt x="818" y="115"/>
                  </a:lnTo>
                  <a:lnTo>
                    <a:pt x="909" y="55"/>
                  </a:lnTo>
                  <a:lnTo>
                    <a:pt x="998" y="0"/>
                  </a:lnTo>
                  <a:lnTo>
                    <a:pt x="998" y="0"/>
                  </a:lnTo>
                  <a:lnTo>
                    <a:pt x="1017" y="170"/>
                  </a:lnTo>
                  <a:lnTo>
                    <a:pt x="1036" y="378"/>
                  </a:lnTo>
                  <a:lnTo>
                    <a:pt x="1055" y="608"/>
                  </a:lnTo>
                  <a:lnTo>
                    <a:pt x="1074" y="847"/>
                  </a:lnTo>
                  <a:lnTo>
                    <a:pt x="1089" y="1086"/>
                  </a:lnTo>
                  <a:lnTo>
                    <a:pt x="1098" y="1309"/>
                  </a:lnTo>
                  <a:lnTo>
                    <a:pt x="1101" y="1409"/>
                  </a:lnTo>
                  <a:lnTo>
                    <a:pt x="1101" y="1500"/>
                  </a:lnTo>
                  <a:lnTo>
                    <a:pt x="1101" y="1582"/>
                  </a:lnTo>
                  <a:lnTo>
                    <a:pt x="1096" y="1651"/>
                  </a:lnTo>
                  <a:lnTo>
                    <a:pt x="1096" y="1651"/>
                  </a:lnTo>
                  <a:close/>
                </a:path>
              </a:pathLst>
            </a:custGeom>
            <a:noFill/>
            <a:ln w="19050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1979" y="2209"/>
              <a:ext cx="1994" cy="1185"/>
            </a:xfrm>
            <a:custGeom>
              <a:avLst/>
              <a:gdLst>
                <a:gd name="T0" fmla="*/ 1994 w 1994"/>
                <a:gd name="T1" fmla="*/ 627 h 1185"/>
                <a:gd name="T2" fmla="*/ 1932 w 1994"/>
                <a:gd name="T3" fmla="*/ 678 h 1185"/>
                <a:gd name="T4" fmla="*/ 1826 w 1994"/>
                <a:gd name="T5" fmla="*/ 757 h 1185"/>
                <a:gd name="T6" fmla="*/ 1678 w 1994"/>
                <a:gd name="T7" fmla="*/ 857 h 1185"/>
                <a:gd name="T8" fmla="*/ 1491 w 1994"/>
                <a:gd name="T9" fmla="*/ 960 h 1185"/>
                <a:gd name="T10" fmla="*/ 1386 w 1994"/>
                <a:gd name="T11" fmla="*/ 1013 h 1185"/>
                <a:gd name="T12" fmla="*/ 1274 w 1994"/>
                <a:gd name="T13" fmla="*/ 1058 h 1185"/>
                <a:gd name="T14" fmla="*/ 1154 w 1994"/>
                <a:gd name="T15" fmla="*/ 1101 h 1185"/>
                <a:gd name="T16" fmla="*/ 1027 w 1994"/>
                <a:gd name="T17" fmla="*/ 1137 h 1185"/>
                <a:gd name="T18" fmla="*/ 898 w 1994"/>
                <a:gd name="T19" fmla="*/ 1163 h 1185"/>
                <a:gd name="T20" fmla="*/ 761 w 1994"/>
                <a:gd name="T21" fmla="*/ 1180 h 1185"/>
                <a:gd name="T22" fmla="*/ 623 w 1994"/>
                <a:gd name="T23" fmla="*/ 1185 h 1185"/>
                <a:gd name="T24" fmla="*/ 582 w 1994"/>
                <a:gd name="T25" fmla="*/ 1183 h 1185"/>
                <a:gd name="T26" fmla="*/ 505 w 1994"/>
                <a:gd name="T27" fmla="*/ 1175 h 1185"/>
                <a:gd name="T28" fmla="*/ 431 w 1994"/>
                <a:gd name="T29" fmla="*/ 1159 h 1185"/>
                <a:gd name="T30" fmla="*/ 364 w 1994"/>
                <a:gd name="T31" fmla="*/ 1137 h 1185"/>
                <a:gd name="T32" fmla="*/ 304 w 1994"/>
                <a:gd name="T33" fmla="*/ 1111 h 1185"/>
                <a:gd name="T34" fmla="*/ 249 w 1994"/>
                <a:gd name="T35" fmla="*/ 1077 h 1185"/>
                <a:gd name="T36" fmla="*/ 199 w 1994"/>
                <a:gd name="T37" fmla="*/ 1039 h 1185"/>
                <a:gd name="T38" fmla="*/ 153 w 1994"/>
                <a:gd name="T39" fmla="*/ 998 h 1185"/>
                <a:gd name="T40" fmla="*/ 115 w 1994"/>
                <a:gd name="T41" fmla="*/ 953 h 1185"/>
                <a:gd name="T42" fmla="*/ 82 w 1994"/>
                <a:gd name="T43" fmla="*/ 905 h 1185"/>
                <a:gd name="T44" fmla="*/ 55 w 1994"/>
                <a:gd name="T45" fmla="*/ 852 h 1185"/>
                <a:gd name="T46" fmla="*/ 24 w 1994"/>
                <a:gd name="T47" fmla="*/ 773 h 1185"/>
                <a:gd name="T48" fmla="*/ 3 w 1994"/>
                <a:gd name="T49" fmla="*/ 666 h 1185"/>
                <a:gd name="T50" fmla="*/ 5 w 1994"/>
                <a:gd name="T51" fmla="*/ 558 h 1185"/>
                <a:gd name="T52" fmla="*/ 12 w 1994"/>
                <a:gd name="T53" fmla="*/ 508 h 1185"/>
                <a:gd name="T54" fmla="*/ 36 w 1994"/>
                <a:gd name="T55" fmla="*/ 414 h 1185"/>
                <a:gd name="T56" fmla="*/ 72 w 1994"/>
                <a:gd name="T57" fmla="*/ 326 h 1185"/>
                <a:gd name="T58" fmla="*/ 118 w 1994"/>
                <a:gd name="T59" fmla="*/ 244 h 1185"/>
                <a:gd name="T60" fmla="*/ 173 w 1994"/>
                <a:gd name="T61" fmla="*/ 170 h 1185"/>
                <a:gd name="T62" fmla="*/ 240 w 1994"/>
                <a:gd name="T63" fmla="*/ 108 h 1185"/>
                <a:gd name="T64" fmla="*/ 314 w 1994"/>
                <a:gd name="T65" fmla="*/ 55 h 1185"/>
                <a:gd name="T66" fmla="*/ 395 w 1994"/>
                <a:gd name="T67" fmla="*/ 17 h 1185"/>
                <a:gd name="T68" fmla="*/ 438 w 1994"/>
                <a:gd name="T69" fmla="*/ 0 h 1185"/>
                <a:gd name="T70" fmla="*/ 584 w 1994"/>
                <a:gd name="T71" fmla="*/ 46 h 1185"/>
                <a:gd name="T72" fmla="*/ 769 w 1994"/>
                <a:gd name="T73" fmla="*/ 113 h 1185"/>
                <a:gd name="T74" fmla="*/ 1207 w 1994"/>
                <a:gd name="T75" fmla="*/ 285 h 1185"/>
                <a:gd name="T76" fmla="*/ 1649 w 1994"/>
                <a:gd name="T77" fmla="*/ 474 h 1185"/>
                <a:gd name="T78" fmla="*/ 1994 w 1994"/>
                <a:gd name="T79" fmla="*/ 627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94" h="1185">
                  <a:moveTo>
                    <a:pt x="1994" y="627"/>
                  </a:moveTo>
                  <a:lnTo>
                    <a:pt x="1994" y="627"/>
                  </a:lnTo>
                  <a:lnTo>
                    <a:pt x="1965" y="651"/>
                  </a:lnTo>
                  <a:lnTo>
                    <a:pt x="1932" y="678"/>
                  </a:lnTo>
                  <a:lnTo>
                    <a:pt x="1884" y="716"/>
                  </a:lnTo>
                  <a:lnTo>
                    <a:pt x="1826" y="757"/>
                  </a:lnTo>
                  <a:lnTo>
                    <a:pt x="1757" y="804"/>
                  </a:lnTo>
                  <a:lnTo>
                    <a:pt x="1678" y="857"/>
                  </a:lnTo>
                  <a:lnTo>
                    <a:pt x="1590" y="910"/>
                  </a:lnTo>
                  <a:lnTo>
                    <a:pt x="1491" y="960"/>
                  </a:lnTo>
                  <a:lnTo>
                    <a:pt x="1439" y="986"/>
                  </a:lnTo>
                  <a:lnTo>
                    <a:pt x="1386" y="1013"/>
                  </a:lnTo>
                  <a:lnTo>
                    <a:pt x="1331" y="1037"/>
                  </a:lnTo>
                  <a:lnTo>
                    <a:pt x="1274" y="1058"/>
                  </a:lnTo>
                  <a:lnTo>
                    <a:pt x="1214" y="1080"/>
                  </a:lnTo>
                  <a:lnTo>
                    <a:pt x="1154" y="1101"/>
                  </a:lnTo>
                  <a:lnTo>
                    <a:pt x="1092" y="1120"/>
                  </a:lnTo>
                  <a:lnTo>
                    <a:pt x="1027" y="1137"/>
                  </a:lnTo>
                  <a:lnTo>
                    <a:pt x="962" y="1151"/>
                  </a:lnTo>
                  <a:lnTo>
                    <a:pt x="898" y="1163"/>
                  </a:lnTo>
                  <a:lnTo>
                    <a:pt x="831" y="1173"/>
                  </a:lnTo>
                  <a:lnTo>
                    <a:pt x="761" y="1180"/>
                  </a:lnTo>
                  <a:lnTo>
                    <a:pt x="692" y="1185"/>
                  </a:lnTo>
                  <a:lnTo>
                    <a:pt x="623" y="1185"/>
                  </a:lnTo>
                  <a:lnTo>
                    <a:pt x="623" y="1185"/>
                  </a:lnTo>
                  <a:lnTo>
                    <a:pt x="582" y="1183"/>
                  </a:lnTo>
                  <a:lnTo>
                    <a:pt x="544" y="1180"/>
                  </a:lnTo>
                  <a:lnTo>
                    <a:pt x="505" y="1175"/>
                  </a:lnTo>
                  <a:lnTo>
                    <a:pt x="467" y="1168"/>
                  </a:lnTo>
                  <a:lnTo>
                    <a:pt x="431" y="1159"/>
                  </a:lnTo>
                  <a:lnTo>
                    <a:pt x="398" y="1149"/>
                  </a:lnTo>
                  <a:lnTo>
                    <a:pt x="364" y="1137"/>
                  </a:lnTo>
                  <a:lnTo>
                    <a:pt x="333" y="1125"/>
                  </a:lnTo>
                  <a:lnTo>
                    <a:pt x="304" y="1111"/>
                  </a:lnTo>
                  <a:lnTo>
                    <a:pt x="275" y="1094"/>
                  </a:lnTo>
                  <a:lnTo>
                    <a:pt x="249" y="1077"/>
                  </a:lnTo>
                  <a:lnTo>
                    <a:pt x="223" y="1058"/>
                  </a:lnTo>
                  <a:lnTo>
                    <a:pt x="199" y="1039"/>
                  </a:lnTo>
                  <a:lnTo>
                    <a:pt x="175" y="1020"/>
                  </a:lnTo>
                  <a:lnTo>
                    <a:pt x="153" y="998"/>
                  </a:lnTo>
                  <a:lnTo>
                    <a:pt x="134" y="974"/>
                  </a:lnTo>
                  <a:lnTo>
                    <a:pt x="115" y="953"/>
                  </a:lnTo>
                  <a:lnTo>
                    <a:pt x="98" y="929"/>
                  </a:lnTo>
                  <a:lnTo>
                    <a:pt x="82" y="905"/>
                  </a:lnTo>
                  <a:lnTo>
                    <a:pt x="67" y="879"/>
                  </a:lnTo>
                  <a:lnTo>
                    <a:pt x="55" y="852"/>
                  </a:lnTo>
                  <a:lnTo>
                    <a:pt x="43" y="826"/>
                  </a:lnTo>
                  <a:lnTo>
                    <a:pt x="24" y="773"/>
                  </a:lnTo>
                  <a:lnTo>
                    <a:pt x="10" y="721"/>
                  </a:lnTo>
                  <a:lnTo>
                    <a:pt x="3" y="666"/>
                  </a:lnTo>
                  <a:lnTo>
                    <a:pt x="0" y="611"/>
                  </a:lnTo>
                  <a:lnTo>
                    <a:pt x="5" y="558"/>
                  </a:lnTo>
                  <a:lnTo>
                    <a:pt x="5" y="558"/>
                  </a:lnTo>
                  <a:lnTo>
                    <a:pt x="12" y="508"/>
                  </a:lnTo>
                  <a:lnTo>
                    <a:pt x="22" y="460"/>
                  </a:lnTo>
                  <a:lnTo>
                    <a:pt x="36" y="414"/>
                  </a:lnTo>
                  <a:lnTo>
                    <a:pt x="53" y="369"/>
                  </a:lnTo>
                  <a:lnTo>
                    <a:pt x="72" y="326"/>
                  </a:lnTo>
                  <a:lnTo>
                    <a:pt x="94" y="283"/>
                  </a:lnTo>
                  <a:lnTo>
                    <a:pt x="118" y="244"/>
                  </a:lnTo>
                  <a:lnTo>
                    <a:pt x="144" y="206"/>
                  </a:lnTo>
                  <a:lnTo>
                    <a:pt x="173" y="170"/>
                  </a:lnTo>
                  <a:lnTo>
                    <a:pt x="206" y="139"/>
                  </a:lnTo>
                  <a:lnTo>
                    <a:pt x="240" y="108"/>
                  </a:lnTo>
                  <a:lnTo>
                    <a:pt x="275" y="82"/>
                  </a:lnTo>
                  <a:lnTo>
                    <a:pt x="314" y="55"/>
                  </a:lnTo>
                  <a:lnTo>
                    <a:pt x="352" y="34"/>
                  </a:lnTo>
                  <a:lnTo>
                    <a:pt x="395" y="17"/>
                  </a:lnTo>
                  <a:lnTo>
                    <a:pt x="438" y="0"/>
                  </a:lnTo>
                  <a:lnTo>
                    <a:pt x="438" y="0"/>
                  </a:lnTo>
                  <a:lnTo>
                    <a:pt x="505" y="19"/>
                  </a:lnTo>
                  <a:lnTo>
                    <a:pt x="584" y="46"/>
                  </a:lnTo>
                  <a:lnTo>
                    <a:pt x="673" y="77"/>
                  </a:lnTo>
                  <a:lnTo>
                    <a:pt x="769" y="113"/>
                  </a:lnTo>
                  <a:lnTo>
                    <a:pt x="979" y="194"/>
                  </a:lnTo>
                  <a:lnTo>
                    <a:pt x="1207" y="285"/>
                  </a:lnTo>
                  <a:lnTo>
                    <a:pt x="1434" y="381"/>
                  </a:lnTo>
                  <a:lnTo>
                    <a:pt x="1649" y="474"/>
                  </a:lnTo>
                  <a:lnTo>
                    <a:pt x="1841" y="558"/>
                  </a:lnTo>
                  <a:lnTo>
                    <a:pt x="1994" y="627"/>
                  </a:lnTo>
                  <a:lnTo>
                    <a:pt x="1994" y="627"/>
                  </a:lnTo>
                  <a:close/>
                </a:path>
              </a:pathLst>
            </a:custGeom>
            <a:noFill/>
            <a:ln w="19050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auto">
            <a:xfrm>
              <a:off x="2508" y="558"/>
              <a:ext cx="1910" cy="1560"/>
            </a:xfrm>
            <a:custGeom>
              <a:avLst/>
              <a:gdLst>
                <a:gd name="T0" fmla="*/ 125 w 1910"/>
                <a:gd name="T1" fmla="*/ 1264 h 1560"/>
                <a:gd name="T2" fmla="*/ 74 w 1910"/>
                <a:gd name="T3" fmla="*/ 1175 h 1560"/>
                <a:gd name="T4" fmla="*/ 34 w 1910"/>
                <a:gd name="T5" fmla="*/ 1072 h 1560"/>
                <a:gd name="T6" fmla="*/ 7 w 1910"/>
                <a:gd name="T7" fmla="*/ 955 h 1560"/>
                <a:gd name="T8" fmla="*/ 0 w 1910"/>
                <a:gd name="T9" fmla="*/ 890 h 1560"/>
                <a:gd name="T10" fmla="*/ 0 w 1910"/>
                <a:gd name="T11" fmla="*/ 828 h 1560"/>
                <a:gd name="T12" fmla="*/ 7 w 1910"/>
                <a:gd name="T13" fmla="*/ 761 h 1560"/>
                <a:gd name="T14" fmla="*/ 22 w 1910"/>
                <a:gd name="T15" fmla="*/ 696 h 1560"/>
                <a:gd name="T16" fmla="*/ 46 w 1910"/>
                <a:gd name="T17" fmla="*/ 629 h 1560"/>
                <a:gd name="T18" fmla="*/ 77 w 1910"/>
                <a:gd name="T19" fmla="*/ 565 h 1560"/>
                <a:gd name="T20" fmla="*/ 120 w 1910"/>
                <a:gd name="T21" fmla="*/ 500 h 1560"/>
                <a:gd name="T22" fmla="*/ 173 w 1910"/>
                <a:gd name="T23" fmla="*/ 438 h 1560"/>
                <a:gd name="T24" fmla="*/ 235 w 1910"/>
                <a:gd name="T25" fmla="*/ 376 h 1560"/>
                <a:gd name="T26" fmla="*/ 311 w 1910"/>
                <a:gd name="T27" fmla="*/ 318 h 1560"/>
                <a:gd name="T28" fmla="*/ 374 w 1910"/>
                <a:gd name="T29" fmla="*/ 278 h 1560"/>
                <a:gd name="T30" fmla="*/ 503 w 1910"/>
                <a:gd name="T31" fmla="*/ 206 h 1560"/>
                <a:gd name="T32" fmla="*/ 637 w 1910"/>
                <a:gd name="T33" fmla="*/ 146 h 1560"/>
                <a:gd name="T34" fmla="*/ 773 w 1910"/>
                <a:gd name="T35" fmla="*/ 100 h 1560"/>
                <a:gd name="T36" fmla="*/ 910 w 1910"/>
                <a:gd name="T37" fmla="*/ 65 h 1560"/>
                <a:gd name="T38" fmla="*/ 1044 w 1910"/>
                <a:gd name="T39" fmla="*/ 36 h 1560"/>
                <a:gd name="T40" fmla="*/ 1173 w 1910"/>
                <a:gd name="T41" fmla="*/ 17 h 1560"/>
                <a:gd name="T42" fmla="*/ 1360 w 1910"/>
                <a:gd name="T43" fmla="*/ 2 h 1560"/>
                <a:gd name="T44" fmla="*/ 1580 w 1910"/>
                <a:gd name="T45" fmla="*/ 0 h 1560"/>
                <a:gd name="T46" fmla="*/ 1755 w 1910"/>
                <a:gd name="T47" fmla="*/ 12 h 1560"/>
                <a:gd name="T48" fmla="*/ 1870 w 1910"/>
                <a:gd name="T49" fmla="*/ 24 h 1560"/>
                <a:gd name="T50" fmla="*/ 1910 w 1910"/>
                <a:gd name="T51" fmla="*/ 31 h 1560"/>
                <a:gd name="T52" fmla="*/ 1891 w 1910"/>
                <a:gd name="T53" fmla="*/ 120 h 1560"/>
                <a:gd name="T54" fmla="*/ 1850 w 1910"/>
                <a:gd name="T55" fmla="*/ 261 h 1560"/>
                <a:gd name="T56" fmla="*/ 1783 w 1910"/>
                <a:gd name="T57" fmla="*/ 448 h 1560"/>
                <a:gd name="T58" fmla="*/ 1690 w 1910"/>
                <a:gd name="T59" fmla="*/ 665 h 1560"/>
                <a:gd name="T60" fmla="*/ 1630 w 1910"/>
                <a:gd name="T61" fmla="*/ 780 h 1560"/>
                <a:gd name="T62" fmla="*/ 1561 w 1910"/>
                <a:gd name="T63" fmla="*/ 897 h 1560"/>
                <a:gd name="T64" fmla="*/ 1484 w 1910"/>
                <a:gd name="T65" fmla="*/ 1012 h 1560"/>
                <a:gd name="T66" fmla="*/ 1396 w 1910"/>
                <a:gd name="T67" fmla="*/ 1125 h 1560"/>
                <a:gd name="T68" fmla="*/ 1300 w 1910"/>
                <a:gd name="T69" fmla="*/ 1232 h 1560"/>
                <a:gd name="T70" fmla="*/ 1190 w 1910"/>
                <a:gd name="T71" fmla="*/ 1331 h 1560"/>
                <a:gd name="T72" fmla="*/ 1072 w 1910"/>
                <a:gd name="T73" fmla="*/ 1424 h 1560"/>
                <a:gd name="T74" fmla="*/ 1032 w 1910"/>
                <a:gd name="T75" fmla="*/ 1450 h 1560"/>
                <a:gd name="T76" fmla="*/ 950 w 1910"/>
                <a:gd name="T77" fmla="*/ 1493 h 1560"/>
                <a:gd name="T78" fmla="*/ 871 w 1910"/>
                <a:gd name="T79" fmla="*/ 1524 h 1560"/>
                <a:gd name="T80" fmla="*/ 797 w 1910"/>
                <a:gd name="T81" fmla="*/ 1546 h 1560"/>
                <a:gd name="T82" fmla="*/ 723 w 1910"/>
                <a:gd name="T83" fmla="*/ 1558 h 1560"/>
                <a:gd name="T84" fmla="*/ 651 w 1910"/>
                <a:gd name="T85" fmla="*/ 1560 h 1560"/>
                <a:gd name="T86" fmla="*/ 584 w 1910"/>
                <a:gd name="T87" fmla="*/ 1556 h 1560"/>
                <a:gd name="T88" fmla="*/ 520 w 1910"/>
                <a:gd name="T89" fmla="*/ 1541 h 1560"/>
                <a:gd name="T90" fmla="*/ 457 w 1910"/>
                <a:gd name="T91" fmla="*/ 1522 h 1560"/>
                <a:gd name="T92" fmla="*/ 400 w 1910"/>
                <a:gd name="T93" fmla="*/ 1496 h 1560"/>
                <a:gd name="T94" fmla="*/ 319 w 1910"/>
                <a:gd name="T95" fmla="*/ 1450 h 1560"/>
                <a:gd name="T96" fmla="*/ 228 w 1910"/>
                <a:gd name="T97" fmla="*/ 1378 h 1560"/>
                <a:gd name="T98" fmla="*/ 153 w 1910"/>
                <a:gd name="T99" fmla="*/ 1302 h 1560"/>
                <a:gd name="T100" fmla="*/ 125 w 1910"/>
                <a:gd name="T101" fmla="*/ 1264 h 1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10" h="1560">
                  <a:moveTo>
                    <a:pt x="125" y="1264"/>
                  </a:moveTo>
                  <a:lnTo>
                    <a:pt x="125" y="1264"/>
                  </a:lnTo>
                  <a:lnTo>
                    <a:pt x="98" y="1221"/>
                  </a:lnTo>
                  <a:lnTo>
                    <a:pt x="74" y="1175"/>
                  </a:lnTo>
                  <a:lnTo>
                    <a:pt x="53" y="1125"/>
                  </a:lnTo>
                  <a:lnTo>
                    <a:pt x="34" y="1072"/>
                  </a:lnTo>
                  <a:lnTo>
                    <a:pt x="17" y="1015"/>
                  </a:lnTo>
                  <a:lnTo>
                    <a:pt x="7" y="955"/>
                  </a:lnTo>
                  <a:lnTo>
                    <a:pt x="3" y="924"/>
                  </a:lnTo>
                  <a:lnTo>
                    <a:pt x="0" y="890"/>
                  </a:lnTo>
                  <a:lnTo>
                    <a:pt x="0" y="859"/>
                  </a:lnTo>
                  <a:lnTo>
                    <a:pt x="0" y="828"/>
                  </a:lnTo>
                  <a:lnTo>
                    <a:pt x="5" y="795"/>
                  </a:lnTo>
                  <a:lnTo>
                    <a:pt x="7" y="761"/>
                  </a:lnTo>
                  <a:lnTo>
                    <a:pt x="15" y="730"/>
                  </a:lnTo>
                  <a:lnTo>
                    <a:pt x="22" y="696"/>
                  </a:lnTo>
                  <a:lnTo>
                    <a:pt x="34" y="663"/>
                  </a:lnTo>
                  <a:lnTo>
                    <a:pt x="46" y="629"/>
                  </a:lnTo>
                  <a:lnTo>
                    <a:pt x="60" y="598"/>
                  </a:lnTo>
                  <a:lnTo>
                    <a:pt x="77" y="565"/>
                  </a:lnTo>
                  <a:lnTo>
                    <a:pt x="96" y="531"/>
                  </a:lnTo>
                  <a:lnTo>
                    <a:pt x="120" y="500"/>
                  </a:lnTo>
                  <a:lnTo>
                    <a:pt x="144" y="469"/>
                  </a:lnTo>
                  <a:lnTo>
                    <a:pt x="173" y="438"/>
                  </a:lnTo>
                  <a:lnTo>
                    <a:pt x="201" y="407"/>
                  </a:lnTo>
                  <a:lnTo>
                    <a:pt x="235" y="376"/>
                  </a:lnTo>
                  <a:lnTo>
                    <a:pt x="271" y="347"/>
                  </a:lnTo>
                  <a:lnTo>
                    <a:pt x="311" y="318"/>
                  </a:lnTo>
                  <a:lnTo>
                    <a:pt x="311" y="318"/>
                  </a:lnTo>
                  <a:lnTo>
                    <a:pt x="374" y="278"/>
                  </a:lnTo>
                  <a:lnTo>
                    <a:pt x="438" y="239"/>
                  </a:lnTo>
                  <a:lnTo>
                    <a:pt x="503" y="206"/>
                  </a:lnTo>
                  <a:lnTo>
                    <a:pt x="570" y="175"/>
                  </a:lnTo>
                  <a:lnTo>
                    <a:pt x="637" y="146"/>
                  </a:lnTo>
                  <a:lnTo>
                    <a:pt x="704" y="122"/>
                  </a:lnTo>
                  <a:lnTo>
                    <a:pt x="773" y="100"/>
                  </a:lnTo>
                  <a:lnTo>
                    <a:pt x="840" y="81"/>
                  </a:lnTo>
                  <a:lnTo>
                    <a:pt x="910" y="65"/>
                  </a:lnTo>
                  <a:lnTo>
                    <a:pt x="977" y="48"/>
                  </a:lnTo>
                  <a:lnTo>
                    <a:pt x="1044" y="36"/>
                  </a:lnTo>
                  <a:lnTo>
                    <a:pt x="1108" y="26"/>
                  </a:lnTo>
                  <a:lnTo>
                    <a:pt x="1173" y="17"/>
                  </a:lnTo>
                  <a:lnTo>
                    <a:pt x="1238" y="12"/>
                  </a:lnTo>
                  <a:lnTo>
                    <a:pt x="1360" y="2"/>
                  </a:lnTo>
                  <a:lnTo>
                    <a:pt x="1475" y="0"/>
                  </a:lnTo>
                  <a:lnTo>
                    <a:pt x="1580" y="0"/>
                  </a:lnTo>
                  <a:lnTo>
                    <a:pt x="1673" y="5"/>
                  </a:lnTo>
                  <a:lnTo>
                    <a:pt x="1755" y="12"/>
                  </a:lnTo>
                  <a:lnTo>
                    <a:pt x="1819" y="17"/>
                  </a:lnTo>
                  <a:lnTo>
                    <a:pt x="1870" y="24"/>
                  </a:lnTo>
                  <a:lnTo>
                    <a:pt x="1910" y="31"/>
                  </a:lnTo>
                  <a:lnTo>
                    <a:pt x="1910" y="31"/>
                  </a:lnTo>
                  <a:lnTo>
                    <a:pt x="1901" y="72"/>
                  </a:lnTo>
                  <a:lnTo>
                    <a:pt x="1891" y="120"/>
                  </a:lnTo>
                  <a:lnTo>
                    <a:pt x="1872" y="184"/>
                  </a:lnTo>
                  <a:lnTo>
                    <a:pt x="1850" y="261"/>
                  </a:lnTo>
                  <a:lnTo>
                    <a:pt x="1819" y="349"/>
                  </a:lnTo>
                  <a:lnTo>
                    <a:pt x="1783" y="448"/>
                  </a:lnTo>
                  <a:lnTo>
                    <a:pt x="1740" y="555"/>
                  </a:lnTo>
                  <a:lnTo>
                    <a:pt x="1690" y="665"/>
                  </a:lnTo>
                  <a:lnTo>
                    <a:pt x="1661" y="723"/>
                  </a:lnTo>
                  <a:lnTo>
                    <a:pt x="1630" y="780"/>
                  </a:lnTo>
                  <a:lnTo>
                    <a:pt x="1597" y="840"/>
                  </a:lnTo>
                  <a:lnTo>
                    <a:pt x="1561" y="897"/>
                  </a:lnTo>
                  <a:lnTo>
                    <a:pt x="1522" y="955"/>
                  </a:lnTo>
                  <a:lnTo>
                    <a:pt x="1484" y="1012"/>
                  </a:lnTo>
                  <a:lnTo>
                    <a:pt x="1441" y="1067"/>
                  </a:lnTo>
                  <a:lnTo>
                    <a:pt x="1396" y="1125"/>
                  </a:lnTo>
                  <a:lnTo>
                    <a:pt x="1348" y="1177"/>
                  </a:lnTo>
                  <a:lnTo>
                    <a:pt x="1300" y="1232"/>
                  </a:lnTo>
                  <a:lnTo>
                    <a:pt x="1247" y="1283"/>
                  </a:lnTo>
                  <a:lnTo>
                    <a:pt x="1190" y="1331"/>
                  </a:lnTo>
                  <a:lnTo>
                    <a:pt x="1132" y="1378"/>
                  </a:lnTo>
                  <a:lnTo>
                    <a:pt x="1072" y="1424"/>
                  </a:lnTo>
                  <a:lnTo>
                    <a:pt x="1072" y="1424"/>
                  </a:lnTo>
                  <a:lnTo>
                    <a:pt x="1032" y="1450"/>
                  </a:lnTo>
                  <a:lnTo>
                    <a:pt x="991" y="1472"/>
                  </a:lnTo>
                  <a:lnTo>
                    <a:pt x="950" y="1493"/>
                  </a:lnTo>
                  <a:lnTo>
                    <a:pt x="912" y="1510"/>
                  </a:lnTo>
                  <a:lnTo>
                    <a:pt x="871" y="1524"/>
                  </a:lnTo>
                  <a:lnTo>
                    <a:pt x="833" y="1536"/>
                  </a:lnTo>
                  <a:lnTo>
                    <a:pt x="797" y="1546"/>
                  </a:lnTo>
                  <a:lnTo>
                    <a:pt x="759" y="1553"/>
                  </a:lnTo>
                  <a:lnTo>
                    <a:pt x="723" y="1558"/>
                  </a:lnTo>
                  <a:lnTo>
                    <a:pt x="687" y="1560"/>
                  </a:lnTo>
                  <a:lnTo>
                    <a:pt x="651" y="1560"/>
                  </a:lnTo>
                  <a:lnTo>
                    <a:pt x="618" y="1558"/>
                  </a:lnTo>
                  <a:lnTo>
                    <a:pt x="584" y="1556"/>
                  </a:lnTo>
                  <a:lnTo>
                    <a:pt x="551" y="1548"/>
                  </a:lnTo>
                  <a:lnTo>
                    <a:pt x="520" y="1541"/>
                  </a:lnTo>
                  <a:lnTo>
                    <a:pt x="488" y="1532"/>
                  </a:lnTo>
                  <a:lnTo>
                    <a:pt x="457" y="1522"/>
                  </a:lnTo>
                  <a:lnTo>
                    <a:pt x="429" y="1510"/>
                  </a:lnTo>
                  <a:lnTo>
                    <a:pt x="400" y="1496"/>
                  </a:lnTo>
                  <a:lnTo>
                    <a:pt x="371" y="1481"/>
                  </a:lnTo>
                  <a:lnTo>
                    <a:pt x="319" y="1450"/>
                  </a:lnTo>
                  <a:lnTo>
                    <a:pt x="271" y="1417"/>
                  </a:lnTo>
                  <a:lnTo>
                    <a:pt x="228" y="1378"/>
                  </a:lnTo>
                  <a:lnTo>
                    <a:pt x="189" y="1340"/>
                  </a:lnTo>
                  <a:lnTo>
                    <a:pt x="153" y="1302"/>
                  </a:lnTo>
                  <a:lnTo>
                    <a:pt x="125" y="1264"/>
                  </a:lnTo>
                  <a:lnTo>
                    <a:pt x="125" y="1264"/>
                  </a:lnTo>
                  <a:close/>
                </a:path>
              </a:pathLst>
            </a:custGeom>
            <a:noFill/>
            <a:ln w="19050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162"/>
          <a:stretch/>
        </p:blipFill>
        <p:spPr>
          <a:xfrm>
            <a:off x="10026294" y="4942726"/>
            <a:ext cx="1578335" cy="1410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551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31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52449" y="309636"/>
            <a:ext cx="10839451" cy="6723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654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453" y="2247902"/>
            <a:ext cx="5543551" cy="4152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52449" y="309636"/>
            <a:ext cx="10839451" cy="6723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Freeform 11"/>
          <p:cNvSpPr>
            <a:spLocks/>
          </p:cNvSpPr>
          <p:nvPr userDrawn="1"/>
        </p:nvSpPr>
        <p:spPr bwMode="auto">
          <a:xfrm>
            <a:off x="5968633" y="2639158"/>
            <a:ext cx="7573747" cy="6302700"/>
          </a:xfrm>
          <a:custGeom>
            <a:avLst/>
            <a:gdLst>
              <a:gd name="T0" fmla="*/ 2027 w 2163"/>
              <a:gd name="T1" fmla="*/ 1450 h 1800"/>
              <a:gd name="T2" fmla="*/ 2071 w 2163"/>
              <a:gd name="T3" fmla="*/ 1374 h 1800"/>
              <a:gd name="T4" fmla="*/ 2110 w 2163"/>
              <a:gd name="T5" fmla="*/ 1287 h 1800"/>
              <a:gd name="T6" fmla="*/ 2139 w 2163"/>
              <a:gd name="T7" fmla="*/ 1190 h 1800"/>
              <a:gd name="T8" fmla="*/ 2159 w 2163"/>
              <a:gd name="T9" fmla="*/ 1087 h 1800"/>
              <a:gd name="T10" fmla="*/ 2163 w 2163"/>
              <a:gd name="T11" fmla="*/ 978 h 1800"/>
              <a:gd name="T12" fmla="*/ 2150 w 2163"/>
              <a:gd name="T13" fmla="*/ 866 h 1800"/>
              <a:gd name="T14" fmla="*/ 2117 w 2163"/>
              <a:gd name="T15" fmla="*/ 752 h 1800"/>
              <a:gd name="T16" fmla="*/ 2060 w 2163"/>
              <a:gd name="T17" fmla="*/ 639 h 1800"/>
              <a:gd name="T18" fmla="*/ 1978 w 2163"/>
              <a:gd name="T19" fmla="*/ 529 h 1800"/>
              <a:gd name="T20" fmla="*/ 1865 w 2163"/>
              <a:gd name="T21" fmla="*/ 424 h 1800"/>
              <a:gd name="T22" fmla="*/ 1785 w 2163"/>
              <a:gd name="T23" fmla="*/ 366 h 1800"/>
              <a:gd name="T24" fmla="*/ 1678 w 2163"/>
              <a:gd name="T25" fmla="*/ 298 h 1800"/>
              <a:gd name="T26" fmla="*/ 1565 w 2163"/>
              <a:gd name="T27" fmla="*/ 239 h 1800"/>
              <a:gd name="T28" fmla="*/ 1452 w 2163"/>
              <a:gd name="T29" fmla="*/ 187 h 1800"/>
              <a:gd name="T30" fmla="*/ 1336 w 2163"/>
              <a:gd name="T31" fmla="*/ 144 h 1800"/>
              <a:gd name="T32" fmla="*/ 1143 w 2163"/>
              <a:gd name="T33" fmla="*/ 86 h 1800"/>
              <a:gd name="T34" fmla="*/ 916 w 2163"/>
              <a:gd name="T35" fmla="*/ 39 h 1800"/>
              <a:gd name="T36" fmla="*/ 699 w 2163"/>
              <a:gd name="T37" fmla="*/ 13 h 1800"/>
              <a:gd name="T38" fmla="*/ 499 w 2163"/>
              <a:gd name="T39" fmla="*/ 0 h 1800"/>
              <a:gd name="T40" fmla="*/ 324 w 2163"/>
              <a:gd name="T41" fmla="*/ 0 h 1800"/>
              <a:gd name="T42" fmla="*/ 105 w 2163"/>
              <a:gd name="T43" fmla="*/ 14 h 1800"/>
              <a:gd name="T44" fmla="*/ 0 w 2163"/>
              <a:gd name="T45" fmla="*/ 26 h 1800"/>
              <a:gd name="T46" fmla="*/ 40 w 2163"/>
              <a:gd name="T47" fmla="*/ 202 h 1800"/>
              <a:gd name="T48" fmla="*/ 97 w 2163"/>
              <a:gd name="T49" fmla="*/ 393 h 1800"/>
              <a:gd name="T50" fmla="*/ 158 w 2163"/>
              <a:gd name="T51" fmla="*/ 567 h 1800"/>
              <a:gd name="T52" fmla="*/ 240 w 2163"/>
              <a:gd name="T53" fmla="*/ 757 h 1800"/>
              <a:gd name="T54" fmla="*/ 342 w 2163"/>
              <a:gd name="T55" fmla="*/ 956 h 1800"/>
              <a:gd name="T56" fmla="*/ 467 w 2163"/>
              <a:gd name="T57" fmla="*/ 1157 h 1800"/>
              <a:gd name="T58" fmla="*/ 564 w 2163"/>
              <a:gd name="T59" fmla="*/ 1287 h 1800"/>
              <a:gd name="T60" fmla="*/ 645 w 2163"/>
              <a:gd name="T61" fmla="*/ 1380 h 1800"/>
              <a:gd name="T62" fmla="*/ 732 w 2163"/>
              <a:gd name="T63" fmla="*/ 1471 h 1800"/>
              <a:gd name="T64" fmla="*/ 826 w 2163"/>
              <a:gd name="T65" fmla="*/ 1556 h 1800"/>
              <a:gd name="T66" fmla="*/ 928 w 2163"/>
              <a:gd name="T67" fmla="*/ 1635 h 1800"/>
              <a:gd name="T68" fmla="*/ 1020 w 2163"/>
              <a:gd name="T69" fmla="*/ 1694 h 1800"/>
              <a:gd name="T70" fmla="*/ 1153 w 2163"/>
              <a:gd name="T71" fmla="*/ 1756 h 1800"/>
              <a:gd name="T72" fmla="*/ 1281 w 2163"/>
              <a:gd name="T73" fmla="*/ 1790 h 1800"/>
              <a:gd name="T74" fmla="*/ 1405 w 2163"/>
              <a:gd name="T75" fmla="*/ 1800 h 1800"/>
              <a:gd name="T76" fmla="*/ 1520 w 2163"/>
              <a:gd name="T77" fmla="*/ 1789 h 1800"/>
              <a:gd name="T78" fmla="*/ 1627 w 2163"/>
              <a:gd name="T79" fmla="*/ 1761 h 1800"/>
              <a:gd name="T80" fmla="*/ 1726 w 2163"/>
              <a:gd name="T81" fmla="*/ 1717 h 1800"/>
              <a:gd name="T82" fmla="*/ 1815 w 2163"/>
              <a:gd name="T83" fmla="*/ 1664 h 1800"/>
              <a:gd name="T84" fmla="*/ 1892 w 2163"/>
              <a:gd name="T85" fmla="*/ 1603 h 1800"/>
              <a:gd name="T86" fmla="*/ 1959 w 2163"/>
              <a:gd name="T87" fmla="*/ 1537 h 1800"/>
              <a:gd name="T88" fmla="*/ 2012 w 2163"/>
              <a:gd name="T89" fmla="*/ 1472 h 1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163" h="1800">
                <a:moveTo>
                  <a:pt x="2012" y="1472"/>
                </a:moveTo>
                <a:lnTo>
                  <a:pt x="2012" y="1472"/>
                </a:lnTo>
                <a:lnTo>
                  <a:pt x="2027" y="1450"/>
                </a:lnTo>
                <a:lnTo>
                  <a:pt x="2042" y="1426"/>
                </a:lnTo>
                <a:lnTo>
                  <a:pt x="2057" y="1400"/>
                </a:lnTo>
                <a:lnTo>
                  <a:pt x="2071" y="1374"/>
                </a:lnTo>
                <a:lnTo>
                  <a:pt x="2085" y="1346"/>
                </a:lnTo>
                <a:lnTo>
                  <a:pt x="2097" y="1317"/>
                </a:lnTo>
                <a:lnTo>
                  <a:pt x="2110" y="1287"/>
                </a:lnTo>
                <a:lnTo>
                  <a:pt x="2121" y="1256"/>
                </a:lnTo>
                <a:lnTo>
                  <a:pt x="2131" y="1224"/>
                </a:lnTo>
                <a:lnTo>
                  <a:pt x="2139" y="1190"/>
                </a:lnTo>
                <a:lnTo>
                  <a:pt x="2148" y="1157"/>
                </a:lnTo>
                <a:lnTo>
                  <a:pt x="2154" y="1122"/>
                </a:lnTo>
                <a:lnTo>
                  <a:pt x="2159" y="1087"/>
                </a:lnTo>
                <a:lnTo>
                  <a:pt x="2161" y="1051"/>
                </a:lnTo>
                <a:lnTo>
                  <a:pt x="2163" y="1015"/>
                </a:lnTo>
                <a:lnTo>
                  <a:pt x="2163" y="978"/>
                </a:lnTo>
                <a:lnTo>
                  <a:pt x="2160" y="941"/>
                </a:lnTo>
                <a:lnTo>
                  <a:pt x="2157" y="903"/>
                </a:lnTo>
                <a:lnTo>
                  <a:pt x="2150" y="866"/>
                </a:lnTo>
                <a:lnTo>
                  <a:pt x="2142" y="827"/>
                </a:lnTo>
                <a:lnTo>
                  <a:pt x="2131" y="789"/>
                </a:lnTo>
                <a:lnTo>
                  <a:pt x="2117" y="752"/>
                </a:lnTo>
                <a:lnTo>
                  <a:pt x="2101" y="714"/>
                </a:lnTo>
                <a:lnTo>
                  <a:pt x="2081" y="677"/>
                </a:lnTo>
                <a:lnTo>
                  <a:pt x="2060" y="639"/>
                </a:lnTo>
                <a:lnTo>
                  <a:pt x="2036" y="602"/>
                </a:lnTo>
                <a:lnTo>
                  <a:pt x="2008" y="566"/>
                </a:lnTo>
                <a:lnTo>
                  <a:pt x="1978" y="529"/>
                </a:lnTo>
                <a:lnTo>
                  <a:pt x="1943" y="493"/>
                </a:lnTo>
                <a:lnTo>
                  <a:pt x="1906" y="458"/>
                </a:lnTo>
                <a:lnTo>
                  <a:pt x="1865" y="424"/>
                </a:lnTo>
                <a:lnTo>
                  <a:pt x="1821" y="391"/>
                </a:lnTo>
                <a:lnTo>
                  <a:pt x="1821" y="391"/>
                </a:lnTo>
                <a:lnTo>
                  <a:pt x="1785" y="366"/>
                </a:lnTo>
                <a:lnTo>
                  <a:pt x="1749" y="342"/>
                </a:lnTo>
                <a:lnTo>
                  <a:pt x="1713" y="320"/>
                </a:lnTo>
                <a:lnTo>
                  <a:pt x="1678" y="298"/>
                </a:lnTo>
                <a:lnTo>
                  <a:pt x="1641" y="277"/>
                </a:lnTo>
                <a:lnTo>
                  <a:pt x="1602" y="257"/>
                </a:lnTo>
                <a:lnTo>
                  <a:pt x="1565" y="239"/>
                </a:lnTo>
                <a:lnTo>
                  <a:pt x="1528" y="220"/>
                </a:lnTo>
                <a:lnTo>
                  <a:pt x="1490" y="204"/>
                </a:lnTo>
                <a:lnTo>
                  <a:pt x="1452" y="187"/>
                </a:lnTo>
                <a:lnTo>
                  <a:pt x="1414" y="172"/>
                </a:lnTo>
                <a:lnTo>
                  <a:pt x="1375" y="157"/>
                </a:lnTo>
                <a:lnTo>
                  <a:pt x="1336" y="144"/>
                </a:lnTo>
                <a:lnTo>
                  <a:pt x="1298" y="130"/>
                </a:lnTo>
                <a:lnTo>
                  <a:pt x="1221" y="107"/>
                </a:lnTo>
                <a:lnTo>
                  <a:pt x="1143" y="86"/>
                </a:lnTo>
                <a:lnTo>
                  <a:pt x="1067" y="68"/>
                </a:lnTo>
                <a:lnTo>
                  <a:pt x="991" y="52"/>
                </a:lnTo>
                <a:lnTo>
                  <a:pt x="916" y="39"/>
                </a:lnTo>
                <a:lnTo>
                  <a:pt x="842" y="28"/>
                </a:lnTo>
                <a:lnTo>
                  <a:pt x="769" y="19"/>
                </a:lnTo>
                <a:lnTo>
                  <a:pt x="699" y="13"/>
                </a:lnTo>
                <a:lnTo>
                  <a:pt x="630" y="7"/>
                </a:lnTo>
                <a:lnTo>
                  <a:pt x="563" y="3"/>
                </a:lnTo>
                <a:lnTo>
                  <a:pt x="499" y="0"/>
                </a:lnTo>
                <a:lnTo>
                  <a:pt x="437" y="0"/>
                </a:lnTo>
                <a:lnTo>
                  <a:pt x="379" y="0"/>
                </a:lnTo>
                <a:lnTo>
                  <a:pt x="324" y="0"/>
                </a:lnTo>
                <a:lnTo>
                  <a:pt x="272" y="3"/>
                </a:lnTo>
                <a:lnTo>
                  <a:pt x="181" y="8"/>
                </a:lnTo>
                <a:lnTo>
                  <a:pt x="105" y="14"/>
                </a:lnTo>
                <a:lnTo>
                  <a:pt x="48" y="20"/>
                </a:lnTo>
                <a:lnTo>
                  <a:pt x="0" y="26"/>
                </a:lnTo>
                <a:lnTo>
                  <a:pt x="0" y="26"/>
                </a:lnTo>
                <a:lnTo>
                  <a:pt x="10" y="73"/>
                </a:lnTo>
                <a:lnTo>
                  <a:pt x="23" y="129"/>
                </a:lnTo>
                <a:lnTo>
                  <a:pt x="40" y="202"/>
                </a:lnTo>
                <a:lnTo>
                  <a:pt x="65" y="292"/>
                </a:lnTo>
                <a:lnTo>
                  <a:pt x="81" y="341"/>
                </a:lnTo>
                <a:lnTo>
                  <a:pt x="97" y="393"/>
                </a:lnTo>
                <a:lnTo>
                  <a:pt x="115" y="449"/>
                </a:lnTo>
                <a:lnTo>
                  <a:pt x="136" y="507"/>
                </a:lnTo>
                <a:lnTo>
                  <a:pt x="158" y="567"/>
                </a:lnTo>
                <a:lnTo>
                  <a:pt x="184" y="629"/>
                </a:lnTo>
                <a:lnTo>
                  <a:pt x="210" y="693"/>
                </a:lnTo>
                <a:lnTo>
                  <a:pt x="240" y="757"/>
                </a:lnTo>
                <a:lnTo>
                  <a:pt x="272" y="823"/>
                </a:lnTo>
                <a:lnTo>
                  <a:pt x="305" y="889"/>
                </a:lnTo>
                <a:lnTo>
                  <a:pt x="342" y="956"/>
                </a:lnTo>
                <a:lnTo>
                  <a:pt x="382" y="1024"/>
                </a:lnTo>
                <a:lnTo>
                  <a:pt x="422" y="1090"/>
                </a:lnTo>
                <a:lnTo>
                  <a:pt x="467" y="1157"/>
                </a:lnTo>
                <a:lnTo>
                  <a:pt x="515" y="1222"/>
                </a:lnTo>
                <a:lnTo>
                  <a:pt x="538" y="1255"/>
                </a:lnTo>
                <a:lnTo>
                  <a:pt x="564" y="1287"/>
                </a:lnTo>
                <a:lnTo>
                  <a:pt x="590" y="1319"/>
                </a:lnTo>
                <a:lnTo>
                  <a:pt x="617" y="1350"/>
                </a:lnTo>
                <a:lnTo>
                  <a:pt x="645" y="1380"/>
                </a:lnTo>
                <a:lnTo>
                  <a:pt x="673" y="1411"/>
                </a:lnTo>
                <a:lnTo>
                  <a:pt x="703" y="1441"/>
                </a:lnTo>
                <a:lnTo>
                  <a:pt x="732" y="1471"/>
                </a:lnTo>
                <a:lnTo>
                  <a:pt x="763" y="1500"/>
                </a:lnTo>
                <a:lnTo>
                  <a:pt x="794" y="1529"/>
                </a:lnTo>
                <a:lnTo>
                  <a:pt x="826" y="1556"/>
                </a:lnTo>
                <a:lnTo>
                  <a:pt x="859" y="1583"/>
                </a:lnTo>
                <a:lnTo>
                  <a:pt x="894" y="1609"/>
                </a:lnTo>
                <a:lnTo>
                  <a:pt x="928" y="1635"/>
                </a:lnTo>
                <a:lnTo>
                  <a:pt x="928" y="1635"/>
                </a:lnTo>
                <a:lnTo>
                  <a:pt x="974" y="1666"/>
                </a:lnTo>
                <a:lnTo>
                  <a:pt x="1020" y="1694"/>
                </a:lnTo>
                <a:lnTo>
                  <a:pt x="1064" y="1717"/>
                </a:lnTo>
                <a:lnTo>
                  <a:pt x="1109" y="1738"/>
                </a:lnTo>
                <a:lnTo>
                  <a:pt x="1153" y="1756"/>
                </a:lnTo>
                <a:lnTo>
                  <a:pt x="1196" y="1770"/>
                </a:lnTo>
                <a:lnTo>
                  <a:pt x="1240" y="1782"/>
                </a:lnTo>
                <a:lnTo>
                  <a:pt x="1281" y="1790"/>
                </a:lnTo>
                <a:lnTo>
                  <a:pt x="1323" y="1796"/>
                </a:lnTo>
                <a:lnTo>
                  <a:pt x="1364" y="1800"/>
                </a:lnTo>
                <a:lnTo>
                  <a:pt x="1405" y="1800"/>
                </a:lnTo>
                <a:lnTo>
                  <a:pt x="1444" y="1799"/>
                </a:lnTo>
                <a:lnTo>
                  <a:pt x="1483" y="1795"/>
                </a:lnTo>
                <a:lnTo>
                  <a:pt x="1520" y="1789"/>
                </a:lnTo>
                <a:lnTo>
                  <a:pt x="1557" y="1782"/>
                </a:lnTo>
                <a:lnTo>
                  <a:pt x="1593" y="1772"/>
                </a:lnTo>
                <a:lnTo>
                  <a:pt x="1627" y="1761"/>
                </a:lnTo>
                <a:lnTo>
                  <a:pt x="1662" y="1748"/>
                </a:lnTo>
                <a:lnTo>
                  <a:pt x="1695" y="1733"/>
                </a:lnTo>
                <a:lnTo>
                  <a:pt x="1726" y="1717"/>
                </a:lnTo>
                <a:lnTo>
                  <a:pt x="1757" y="1701"/>
                </a:lnTo>
                <a:lnTo>
                  <a:pt x="1786" y="1683"/>
                </a:lnTo>
                <a:lnTo>
                  <a:pt x="1815" y="1664"/>
                </a:lnTo>
                <a:lnTo>
                  <a:pt x="1842" y="1645"/>
                </a:lnTo>
                <a:lnTo>
                  <a:pt x="1868" y="1624"/>
                </a:lnTo>
                <a:lnTo>
                  <a:pt x="1892" y="1603"/>
                </a:lnTo>
                <a:lnTo>
                  <a:pt x="1916" y="1582"/>
                </a:lnTo>
                <a:lnTo>
                  <a:pt x="1938" y="1559"/>
                </a:lnTo>
                <a:lnTo>
                  <a:pt x="1959" y="1537"/>
                </a:lnTo>
                <a:lnTo>
                  <a:pt x="1978" y="1516"/>
                </a:lnTo>
                <a:lnTo>
                  <a:pt x="1996" y="1494"/>
                </a:lnTo>
                <a:lnTo>
                  <a:pt x="2012" y="1472"/>
                </a:lnTo>
                <a:lnTo>
                  <a:pt x="2012" y="1472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8029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52449" y="309636"/>
            <a:ext cx="10839451" cy="6723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46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ic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-125" b="15625"/>
          <a:stretch/>
        </p:blipFill>
        <p:spPr>
          <a:xfrm flipH="1">
            <a:off x="-15240" y="0"/>
            <a:ext cx="12207240" cy="6858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52449" y="309636"/>
            <a:ext cx="10839451" cy="6723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1" y="1144588"/>
            <a:ext cx="10839451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920"/>
          <a:stretch/>
        </p:blipFill>
        <p:spPr>
          <a:xfrm>
            <a:off x="10644679" y="207970"/>
            <a:ext cx="880575" cy="783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570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3775821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4"/>
          <p:cNvGrpSpPr>
            <a:grpSpLocks noChangeAspect="1"/>
          </p:cNvGrpSpPr>
          <p:nvPr userDrawn="1"/>
        </p:nvGrpSpPr>
        <p:grpSpPr bwMode="auto">
          <a:xfrm>
            <a:off x="-357187" y="536575"/>
            <a:ext cx="7370763" cy="6853237"/>
            <a:chOff x="-225" y="338"/>
            <a:chExt cx="4643" cy="4317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838" y="3210"/>
              <a:ext cx="2383" cy="1445"/>
            </a:xfrm>
            <a:custGeom>
              <a:avLst/>
              <a:gdLst>
                <a:gd name="T0" fmla="*/ 2383 w 2383"/>
                <a:gd name="T1" fmla="*/ 792 h 1445"/>
                <a:gd name="T2" fmla="*/ 2199 w 2383"/>
                <a:gd name="T3" fmla="*/ 940 h 1445"/>
                <a:gd name="T4" fmla="*/ 2000 w 2383"/>
                <a:gd name="T5" fmla="*/ 1077 h 1445"/>
                <a:gd name="T6" fmla="*/ 1792 w 2383"/>
                <a:gd name="T7" fmla="*/ 1196 h 1445"/>
                <a:gd name="T8" fmla="*/ 1572 w 2383"/>
                <a:gd name="T9" fmla="*/ 1294 h 1445"/>
                <a:gd name="T10" fmla="*/ 1407 w 2383"/>
                <a:gd name="T11" fmla="*/ 1354 h 1445"/>
                <a:gd name="T12" fmla="*/ 1294 w 2383"/>
                <a:gd name="T13" fmla="*/ 1385 h 1445"/>
                <a:gd name="T14" fmla="*/ 1184 w 2383"/>
                <a:gd name="T15" fmla="*/ 1412 h 1445"/>
                <a:gd name="T16" fmla="*/ 1074 w 2383"/>
                <a:gd name="T17" fmla="*/ 1431 h 1445"/>
                <a:gd name="T18" fmla="*/ 964 w 2383"/>
                <a:gd name="T19" fmla="*/ 1443 h 1445"/>
                <a:gd name="T20" fmla="*/ 856 w 2383"/>
                <a:gd name="T21" fmla="*/ 1445 h 1445"/>
                <a:gd name="T22" fmla="*/ 751 w 2383"/>
                <a:gd name="T23" fmla="*/ 1443 h 1445"/>
                <a:gd name="T24" fmla="*/ 701 w 2383"/>
                <a:gd name="T25" fmla="*/ 1438 h 1445"/>
                <a:gd name="T26" fmla="*/ 624 w 2383"/>
                <a:gd name="T27" fmla="*/ 1428 h 1445"/>
                <a:gd name="T28" fmla="*/ 550 w 2383"/>
                <a:gd name="T29" fmla="*/ 1412 h 1445"/>
                <a:gd name="T30" fmla="*/ 478 w 2383"/>
                <a:gd name="T31" fmla="*/ 1388 h 1445"/>
                <a:gd name="T32" fmla="*/ 411 w 2383"/>
                <a:gd name="T33" fmla="*/ 1361 h 1445"/>
                <a:gd name="T34" fmla="*/ 349 w 2383"/>
                <a:gd name="T35" fmla="*/ 1328 h 1445"/>
                <a:gd name="T36" fmla="*/ 289 w 2383"/>
                <a:gd name="T37" fmla="*/ 1290 h 1445"/>
                <a:gd name="T38" fmla="*/ 236 w 2383"/>
                <a:gd name="T39" fmla="*/ 1247 h 1445"/>
                <a:gd name="T40" fmla="*/ 186 w 2383"/>
                <a:gd name="T41" fmla="*/ 1199 h 1445"/>
                <a:gd name="T42" fmla="*/ 143 w 2383"/>
                <a:gd name="T43" fmla="*/ 1146 h 1445"/>
                <a:gd name="T44" fmla="*/ 105 w 2383"/>
                <a:gd name="T45" fmla="*/ 1089 h 1445"/>
                <a:gd name="T46" fmla="*/ 71 w 2383"/>
                <a:gd name="T47" fmla="*/ 1026 h 1445"/>
                <a:gd name="T48" fmla="*/ 43 w 2383"/>
                <a:gd name="T49" fmla="*/ 962 h 1445"/>
                <a:gd name="T50" fmla="*/ 23 w 2383"/>
                <a:gd name="T51" fmla="*/ 890 h 1445"/>
                <a:gd name="T52" fmla="*/ 9 w 2383"/>
                <a:gd name="T53" fmla="*/ 816 h 1445"/>
                <a:gd name="T54" fmla="*/ 0 w 2383"/>
                <a:gd name="T55" fmla="*/ 737 h 1445"/>
                <a:gd name="T56" fmla="*/ 0 w 2383"/>
                <a:gd name="T57" fmla="*/ 655 h 1445"/>
                <a:gd name="T58" fmla="*/ 4 w 2383"/>
                <a:gd name="T59" fmla="*/ 598 h 1445"/>
                <a:gd name="T60" fmla="*/ 28 w 2383"/>
                <a:gd name="T61" fmla="*/ 488 h 1445"/>
                <a:gd name="T62" fmla="*/ 69 w 2383"/>
                <a:gd name="T63" fmla="*/ 383 h 1445"/>
                <a:gd name="T64" fmla="*/ 126 w 2383"/>
                <a:gd name="T65" fmla="*/ 284 h 1445"/>
                <a:gd name="T66" fmla="*/ 198 w 2383"/>
                <a:gd name="T67" fmla="*/ 196 h 1445"/>
                <a:gd name="T68" fmla="*/ 282 w 2383"/>
                <a:gd name="T69" fmla="*/ 122 h 1445"/>
                <a:gd name="T70" fmla="*/ 380 w 2383"/>
                <a:gd name="T71" fmla="*/ 60 h 1445"/>
                <a:gd name="T72" fmla="*/ 488 w 2383"/>
                <a:gd name="T73" fmla="*/ 14 h 1445"/>
                <a:gd name="T74" fmla="*/ 545 w 2383"/>
                <a:gd name="T75" fmla="*/ 0 h 1445"/>
                <a:gd name="T76" fmla="*/ 603 w 2383"/>
                <a:gd name="T77" fmla="*/ 14 h 1445"/>
                <a:gd name="T78" fmla="*/ 775 w 2383"/>
                <a:gd name="T79" fmla="*/ 76 h 1445"/>
                <a:gd name="T80" fmla="*/ 1007 w 2383"/>
                <a:gd name="T81" fmla="*/ 170 h 1445"/>
                <a:gd name="T82" fmla="*/ 1419 w 2383"/>
                <a:gd name="T83" fmla="*/ 349 h 1445"/>
                <a:gd name="T84" fmla="*/ 1977 w 2383"/>
                <a:gd name="T85" fmla="*/ 603 h 1445"/>
                <a:gd name="T86" fmla="*/ 2383 w 2383"/>
                <a:gd name="T87" fmla="*/ 792 h 1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383" h="1445">
                  <a:moveTo>
                    <a:pt x="2383" y="792"/>
                  </a:moveTo>
                  <a:lnTo>
                    <a:pt x="2383" y="792"/>
                  </a:lnTo>
                  <a:lnTo>
                    <a:pt x="2293" y="868"/>
                  </a:lnTo>
                  <a:lnTo>
                    <a:pt x="2199" y="940"/>
                  </a:lnTo>
                  <a:lnTo>
                    <a:pt x="2103" y="1012"/>
                  </a:lnTo>
                  <a:lnTo>
                    <a:pt x="2000" y="1077"/>
                  </a:lnTo>
                  <a:lnTo>
                    <a:pt x="1898" y="1139"/>
                  </a:lnTo>
                  <a:lnTo>
                    <a:pt x="1792" y="1196"/>
                  </a:lnTo>
                  <a:lnTo>
                    <a:pt x="1682" y="1247"/>
                  </a:lnTo>
                  <a:lnTo>
                    <a:pt x="1572" y="1294"/>
                  </a:lnTo>
                  <a:lnTo>
                    <a:pt x="1462" y="1335"/>
                  </a:lnTo>
                  <a:lnTo>
                    <a:pt x="1407" y="1354"/>
                  </a:lnTo>
                  <a:lnTo>
                    <a:pt x="1352" y="1371"/>
                  </a:lnTo>
                  <a:lnTo>
                    <a:pt x="1294" y="1385"/>
                  </a:lnTo>
                  <a:lnTo>
                    <a:pt x="1239" y="1400"/>
                  </a:lnTo>
                  <a:lnTo>
                    <a:pt x="1184" y="1412"/>
                  </a:lnTo>
                  <a:lnTo>
                    <a:pt x="1129" y="1421"/>
                  </a:lnTo>
                  <a:lnTo>
                    <a:pt x="1074" y="1431"/>
                  </a:lnTo>
                  <a:lnTo>
                    <a:pt x="1019" y="1436"/>
                  </a:lnTo>
                  <a:lnTo>
                    <a:pt x="964" y="1443"/>
                  </a:lnTo>
                  <a:lnTo>
                    <a:pt x="911" y="1445"/>
                  </a:lnTo>
                  <a:lnTo>
                    <a:pt x="856" y="1445"/>
                  </a:lnTo>
                  <a:lnTo>
                    <a:pt x="804" y="1445"/>
                  </a:lnTo>
                  <a:lnTo>
                    <a:pt x="751" y="1443"/>
                  </a:lnTo>
                  <a:lnTo>
                    <a:pt x="701" y="1438"/>
                  </a:lnTo>
                  <a:lnTo>
                    <a:pt x="701" y="1438"/>
                  </a:lnTo>
                  <a:lnTo>
                    <a:pt x="660" y="1433"/>
                  </a:lnTo>
                  <a:lnTo>
                    <a:pt x="624" y="1428"/>
                  </a:lnTo>
                  <a:lnTo>
                    <a:pt x="586" y="1419"/>
                  </a:lnTo>
                  <a:lnTo>
                    <a:pt x="550" y="1412"/>
                  </a:lnTo>
                  <a:lnTo>
                    <a:pt x="514" y="1400"/>
                  </a:lnTo>
                  <a:lnTo>
                    <a:pt x="478" y="1388"/>
                  </a:lnTo>
                  <a:lnTo>
                    <a:pt x="445" y="1376"/>
                  </a:lnTo>
                  <a:lnTo>
                    <a:pt x="411" y="1361"/>
                  </a:lnTo>
                  <a:lnTo>
                    <a:pt x="380" y="1345"/>
                  </a:lnTo>
                  <a:lnTo>
                    <a:pt x="349" y="1328"/>
                  </a:lnTo>
                  <a:lnTo>
                    <a:pt x="318" y="1309"/>
                  </a:lnTo>
                  <a:lnTo>
                    <a:pt x="289" y="1290"/>
                  </a:lnTo>
                  <a:lnTo>
                    <a:pt x="263" y="1268"/>
                  </a:lnTo>
                  <a:lnTo>
                    <a:pt x="236" y="1247"/>
                  </a:lnTo>
                  <a:lnTo>
                    <a:pt x="210" y="1223"/>
                  </a:lnTo>
                  <a:lnTo>
                    <a:pt x="186" y="1199"/>
                  </a:lnTo>
                  <a:lnTo>
                    <a:pt x="165" y="1172"/>
                  </a:lnTo>
                  <a:lnTo>
                    <a:pt x="143" y="1146"/>
                  </a:lnTo>
                  <a:lnTo>
                    <a:pt x="122" y="1117"/>
                  </a:lnTo>
                  <a:lnTo>
                    <a:pt x="105" y="1089"/>
                  </a:lnTo>
                  <a:lnTo>
                    <a:pt x="86" y="1058"/>
                  </a:lnTo>
                  <a:lnTo>
                    <a:pt x="71" y="1026"/>
                  </a:lnTo>
                  <a:lnTo>
                    <a:pt x="57" y="995"/>
                  </a:lnTo>
                  <a:lnTo>
                    <a:pt x="43" y="962"/>
                  </a:lnTo>
                  <a:lnTo>
                    <a:pt x="33" y="926"/>
                  </a:lnTo>
                  <a:lnTo>
                    <a:pt x="23" y="890"/>
                  </a:lnTo>
                  <a:lnTo>
                    <a:pt x="14" y="854"/>
                  </a:lnTo>
                  <a:lnTo>
                    <a:pt x="9" y="816"/>
                  </a:lnTo>
                  <a:lnTo>
                    <a:pt x="4" y="777"/>
                  </a:lnTo>
                  <a:lnTo>
                    <a:pt x="0" y="737"/>
                  </a:lnTo>
                  <a:lnTo>
                    <a:pt x="0" y="696"/>
                  </a:lnTo>
                  <a:lnTo>
                    <a:pt x="0" y="655"/>
                  </a:lnTo>
                  <a:lnTo>
                    <a:pt x="0" y="655"/>
                  </a:lnTo>
                  <a:lnTo>
                    <a:pt x="4" y="598"/>
                  </a:lnTo>
                  <a:lnTo>
                    <a:pt x="14" y="543"/>
                  </a:lnTo>
                  <a:lnTo>
                    <a:pt x="28" y="488"/>
                  </a:lnTo>
                  <a:lnTo>
                    <a:pt x="45" y="433"/>
                  </a:lnTo>
                  <a:lnTo>
                    <a:pt x="69" y="383"/>
                  </a:lnTo>
                  <a:lnTo>
                    <a:pt x="95" y="332"/>
                  </a:lnTo>
                  <a:lnTo>
                    <a:pt x="126" y="284"/>
                  </a:lnTo>
                  <a:lnTo>
                    <a:pt x="160" y="239"/>
                  </a:lnTo>
                  <a:lnTo>
                    <a:pt x="198" y="196"/>
                  </a:lnTo>
                  <a:lnTo>
                    <a:pt x="239" y="158"/>
                  </a:lnTo>
                  <a:lnTo>
                    <a:pt x="282" y="122"/>
                  </a:lnTo>
                  <a:lnTo>
                    <a:pt x="330" y="88"/>
                  </a:lnTo>
                  <a:lnTo>
                    <a:pt x="380" y="60"/>
                  </a:lnTo>
                  <a:lnTo>
                    <a:pt x="433" y="36"/>
                  </a:lnTo>
                  <a:lnTo>
                    <a:pt x="488" y="14"/>
                  </a:lnTo>
                  <a:lnTo>
                    <a:pt x="545" y="0"/>
                  </a:lnTo>
                  <a:lnTo>
                    <a:pt x="545" y="0"/>
                  </a:lnTo>
                  <a:lnTo>
                    <a:pt x="572" y="4"/>
                  </a:lnTo>
                  <a:lnTo>
                    <a:pt x="603" y="14"/>
                  </a:lnTo>
                  <a:lnTo>
                    <a:pt x="679" y="40"/>
                  </a:lnTo>
                  <a:lnTo>
                    <a:pt x="775" y="76"/>
                  </a:lnTo>
                  <a:lnTo>
                    <a:pt x="885" y="119"/>
                  </a:lnTo>
                  <a:lnTo>
                    <a:pt x="1007" y="170"/>
                  </a:lnTo>
                  <a:lnTo>
                    <a:pt x="1139" y="227"/>
                  </a:lnTo>
                  <a:lnTo>
                    <a:pt x="1419" y="349"/>
                  </a:lnTo>
                  <a:lnTo>
                    <a:pt x="1706" y="478"/>
                  </a:lnTo>
                  <a:lnTo>
                    <a:pt x="1977" y="603"/>
                  </a:lnTo>
                  <a:lnTo>
                    <a:pt x="2383" y="792"/>
                  </a:lnTo>
                  <a:lnTo>
                    <a:pt x="2383" y="792"/>
                  </a:lnTo>
                  <a:close/>
                </a:path>
              </a:pathLst>
            </a:custGeom>
            <a:noFill/>
            <a:ln w="19050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-225" y="931"/>
              <a:ext cx="1426" cy="2377"/>
            </a:xfrm>
            <a:custGeom>
              <a:avLst/>
              <a:gdLst>
                <a:gd name="T0" fmla="*/ 1426 w 1426"/>
                <a:gd name="T1" fmla="*/ 1946 h 2377"/>
                <a:gd name="T2" fmla="*/ 1371 w 1426"/>
                <a:gd name="T3" fmla="*/ 2039 h 2377"/>
                <a:gd name="T4" fmla="*/ 1304 w 1426"/>
                <a:gd name="T5" fmla="*/ 2121 h 2377"/>
                <a:gd name="T6" fmla="*/ 1225 w 1426"/>
                <a:gd name="T7" fmla="*/ 2190 h 2377"/>
                <a:gd name="T8" fmla="*/ 1139 w 1426"/>
                <a:gd name="T9" fmla="*/ 2250 h 2377"/>
                <a:gd name="T10" fmla="*/ 1046 w 1426"/>
                <a:gd name="T11" fmla="*/ 2300 h 2377"/>
                <a:gd name="T12" fmla="*/ 948 w 1426"/>
                <a:gd name="T13" fmla="*/ 2336 h 2377"/>
                <a:gd name="T14" fmla="*/ 845 w 1426"/>
                <a:gd name="T15" fmla="*/ 2362 h 2377"/>
                <a:gd name="T16" fmla="*/ 739 w 1426"/>
                <a:gd name="T17" fmla="*/ 2374 h 2377"/>
                <a:gd name="T18" fmla="*/ 703 w 1426"/>
                <a:gd name="T19" fmla="*/ 2377 h 2377"/>
                <a:gd name="T20" fmla="*/ 632 w 1426"/>
                <a:gd name="T21" fmla="*/ 2374 h 2377"/>
                <a:gd name="T22" fmla="*/ 562 w 1426"/>
                <a:gd name="T23" fmla="*/ 2365 h 2377"/>
                <a:gd name="T24" fmla="*/ 495 w 1426"/>
                <a:gd name="T25" fmla="*/ 2348 h 2377"/>
                <a:gd name="T26" fmla="*/ 431 w 1426"/>
                <a:gd name="T27" fmla="*/ 2327 h 2377"/>
                <a:gd name="T28" fmla="*/ 368 w 1426"/>
                <a:gd name="T29" fmla="*/ 2298 h 2377"/>
                <a:gd name="T30" fmla="*/ 309 w 1426"/>
                <a:gd name="T31" fmla="*/ 2262 h 2377"/>
                <a:gd name="T32" fmla="*/ 251 w 1426"/>
                <a:gd name="T33" fmla="*/ 2221 h 2377"/>
                <a:gd name="T34" fmla="*/ 201 w 1426"/>
                <a:gd name="T35" fmla="*/ 2173 h 2377"/>
                <a:gd name="T36" fmla="*/ 153 w 1426"/>
                <a:gd name="T37" fmla="*/ 2121 h 2377"/>
                <a:gd name="T38" fmla="*/ 112 w 1426"/>
                <a:gd name="T39" fmla="*/ 2061 h 2377"/>
                <a:gd name="T40" fmla="*/ 76 w 1426"/>
                <a:gd name="T41" fmla="*/ 1996 h 2377"/>
                <a:gd name="T42" fmla="*/ 45 w 1426"/>
                <a:gd name="T43" fmla="*/ 1927 h 2377"/>
                <a:gd name="T44" fmla="*/ 24 w 1426"/>
                <a:gd name="T45" fmla="*/ 1853 h 2377"/>
                <a:gd name="T46" fmla="*/ 7 w 1426"/>
                <a:gd name="T47" fmla="*/ 1771 h 2377"/>
                <a:gd name="T48" fmla="*/ 0 w 1426"/>
                <a:gd name="T49" fmla="*/ 1688 h 2377"/>
                <a:gd name="T50" fmla="*/ 0 w 1426"/>
                <a:gd name="T51" fmla="*/ 1642 h 2377"/>
                <a:gd name="T52" fmla="*/ 5 w 1426"/>
                <a:gd name="T53" fmla="*/ 1544 h 2377"/>
                <a:gd name="T54" fmla="*/ 19 w 1426"/>
                <a:gd name="T55" fmla="*/ 1441 h 2377"/>
                <a:gd name="T56" fmla="*/ 40 w 1426"/>
                <a:gd name="T57" fmla="*/ 1336 h 2377"/>
                <a:gd name="T58" fmla="*/ 72 w 1426"/>
                <a:gd name="T59" fmla="*/ 1228 h 2377"/>
                <a:gd name="T60" fmla="*/ 107 w 1426"/>
                <a:gd name="T61" fmla="*/ 1118 h 2377"/>
                <a:gd name="T62" fmla="*/ 153 w 1426"/>
                <a:gd name="T63" fmla="*/ 1008 h 2377"/>
                <a:gd name="T64" fmla="*/ 206 w 1426"/>
                <a:gd name="T65" fmla="*/ 898 h 2377"/>
                <a:gd name="T66" fmla="*/ 263 w 1426"/>
                <a:gd name="T67" fmla="*/ 790 h 2377"/>
                <a:gd name="T68" fmla="*/ 328 w 1426"/>
                <a:gd name="T69" fmla="*/ 680 h 2377"/>
                <a:gd name="T70" fmla="*/ 474 w 1426"/>
                <a:gd name="T71" fmla="*/ 469 h 2377"/>
                <a:gd name="T72" fmla="*/ 596 w 1426"/>
                <a:gd name="T73" fmla="*/ 319 h 2377"/>
                <a:gd name="T74" fmla="*/ 684 w 1426"/>
                <a:gd name="T75" fmla="*/ 220 h 2377"/>
                <a:gd name="T76" fmla="*/ 775 w 1426"/>
                <a:gd name="T77" fmla="*/ 130 h 2377"/>
                <a:gd name="T78" fmla="*/ 871 w 1426"/>
                <a:gd name="T79" fmla="*/ 41 h 2377"/>
                <a:gd name="T80" fmla="*/ 919 w 1426"/>
                <a:gd name="T81" fmla="*/ 0 h 2377"/>
                <a:gd name="T82" fmla="*/ 1058 w 1426"/>
                <a:gd name="T83" fmla="*/ 479 h 2377"/>
                <a:gd name="T84" fmla="*/ 1232 w 1426"/>
                <a:gd name="T85" fmla="*/ 1104 h 2377"/>
                <a:gd name="T86" fmla="*/ 1352 w 1426"/>
                <a:gd name="T87" fmla="*/ 1575 h 2377"/>
                <a:gd name="T88" fmla="*/ 1410 w 1426"/>
                <a:gd name="T89" fmla="*/ 1841 h 2377"/>
                <a:gd name="T90" fmla="*/ 1426 w 1426"/>
                <a:gd name="T91" fmla="*/ 1946 h 2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26" h="2377">
                  <a:moveTo>
                    <a:pt x="1426" y="1946"/>
                  </a:moveTo>
                  <a:lnTo>
                    <a:pt x="1426" y="1946"/>
                  </a:lnTo>
                  <a:lnTo>
                    <a:pt x="1400" y="1994"/>
                  </a:lnTo>
                  <a:lnTo>
                    <a:pt x="1371" y="2039"/>
                  </a:lnTo>
                  <a:lnTo>
                    <a:pt x="1338" y="2080"/>
                  </a:lnTo>
                  <a:lnTo>
                    <a:pt x="1304" y="2121"/>
                  </a:lnTo>
                  <a:lnTo>
                    <a:pt x="1266" y="2157"/>
                  </a:lnTo>
                  <a:lnTo>
                    <a:pt x="1225" y="2190"/>
                  </a:lnTo>
                  <a:lnTo>
                    <a:pt x="1182" y="2221"/>
                  </a:lnTo>
                  <a:lnTo>
                    <a:pt x="1139" y="2250"/>
                  </a:lnTo>
                  <a:lnTo>
                    <a:pt x="1094" y="2276"/>
                  </a:lnTo>
                  <a:lnTo>
                    <a:pt x="1046" y="2300"/>
                  </a:lnTo>
                  <a:lnTo>
                    <a:pt x="998" y="2319"/>
                  </a:lnTo>
                  <a:lnTo>
                    <a:pt x="948" y="2336"/>
                  </a:lnTo>
                  <a:lnTo>
                    <a:pt x="897" y="2350"/>
                  </a:lnTo>
                  <a:lnTo>
                    <a:pt x="845" y="2362"/>
                  </a:lnTo>
                  <a:lnTo>
                    <a:pt x="792" y="2370"/>
                  </a:lnTo>
                  <a:lnTo>
                    <a:pt x="739" y="2374"/>
                  </a:lnTo>
                  <a:lnTo>
                    <a:pt x="739" y="2374"/>
                  </a:lnTo>
                  <a:lnTo>
                    <a:pt x="703" y="2377"/>
                  </a:lnTo>
                  <a:lnTo>
                    <a:pt x="668" y="2377"/>
                  </a:lnTo>
                  <a:lnTo>
                    <a:pt x="632" y="2374"/>
                  </a:lnTo>
                  <a:lnTo>
                    <a:pt x="598" y="2370"/>
                  </a:lnTo>
                  <a:lnTo>
                    <a:pt x="562" y="2365"/>
                  </a:lnTo>
                  <a:lnTo>
                    <a:pt x="529" y="2358"/>
                  </a:lnTo>
                  <a:lnTo>
                    <a:pt x="495" y="2348"/>
                  </a:lnTo>
                  <a:lnTo>
                    <a:pt x="462" y="2339"/>
                  </a:lnTo>
                  <a:lnTo>
                    <a:pt x="431" y="2327"/>
                  </a:lnTo>
                  <a:lnTo>
                    <a:pt x="400" y="2312"/>
                  </a:lnTo>
                  <a:lnTo>
                    <a:pt x="368" y="2298"/>
                  </a:lnTo>
                  <a:lnTo>
                    <a:pt x="337" y="2281"/>
                  </a:lnTo>
                  <a:lnTo>
                    <a:pt x="309" y="2262"/>
                  </a:lnTo>
                  <a:lnTo>
                    <a:pt x="280" y="2243"/>
                  </a:lnTo>
                  <a:lnTo>
                    <a:pt x="251" y="2221"/>
                  </a:lnTo>
                  <a:lnTo>
                    <a:pt x="225" y="2197"/>
                  </a:lnTo>
                  <a:lnTo>
                    <a:pt x="201" y="2173"/>
                  </a:lnTo>
                  <a:lnTo>
                    <a:pt x="177" y="2147"/>
                  </a:lnTo>
                  <a:lnTo>
                    <a:pt x="153" y="2121"/>
                  </a:lnTo>
                  <a:lnTo>
                    <a:pt x="131" y="2092"/>
                  </a:lnTo>
                  <a:lnTo>
                    <a:pt x="112" y="2061"/>
                  </a:lnTo>
                  <a:lnTo>
                    <a:pt x="93" y="2030"/>
                  </a:lnTo>
                  <a:lnTo>
                    <a:pt x="76" y="1996"/>
                  </a:lnTo>
                  <a:lnTo>
                    <a:pt x="60" y="1963"/>
                  </a:lnTo>
                  <a:lnTo>
                    <a:pt x="45" y="1927"/>
                  </a:lnTo>
                  <a:lnTo>
                    <a:pt x="33" y="1891"/>
                  </a:lnTo>
                  <a:lnTo>
                    <a:pt x="24" y="1853"/>
                  </a:lnTo>
                  <a:lnTo>
                    <a:pt x="14" y="1812"/>
                  </a:lnTo>
                  <a:lnTo>
                    <a:pt x="7" y="1771"/>
                  </a:lnTo>
                  <a:lnTo>
                    <a:pt x="2" y="1731"/>
                  </a:lnTo>
                  <a:lnTo>
                    <a:pt x="0" y="1688"/>
                  </a:lnTo>
                  <a:lnTo>
                    <a:pt x="0" y="1642"/>
                  </a:lnTo>
                  <a:lnTo>
                    <a:pt x="0" y="1642"/>
                  </a:lnTo>
                  <a:lnTo>
                    <a:pt x="2" y="1594"/>
                  </a:lnTo>
                  <a:lnTo>
                    <a:pt x="5" y="1544"/>
                  </a:lnTo>
                  <a:lnTo>
                    <a:pt x="12" y="1491"/>
                  </a:lnTo>
                  <a:lnTo>
                    <a:pt x="19" y="1441"/>
                  </a:lnTo>
                  <a:lnTo>
                    <a:pt x="29" y="1388"/>
                  </a:lnTo>
                  <a:lnTo>
                    <a:pt x="40" y="1336"/>
                  </a:lnTo>
                  <a:lnTo>
                    <a:pt x="55" y="1281"/>
                  </a:lnTo>
                  <a:lnTo>
                    <a:pt x="72" y="1228"/>
                  </a:lnTo>
                  <a:lnTo>
                    <a:pt x="88" y="1173"/>
                  </a:lnTo>
                  <a:lnTo>
                    <a:pt x="107" y="1118"/>
                  </a:lnTo>
                  <a:lnTo>
                    <a:pt x="131" y="1063"/>
                  </a:lnTo>
                  <a:lnTo>
                    <a:pt x="153" y="1008"/>
                  </a:lnTo>
                  <a:lnTo>
                    <a:pt x="179" y="953"/>
                  </a:lnTo>
                  <a:lnTo>
                    <a:pt x="206" y="898"/>
                  </a:lnTo>
                  <a:lnTo>
                    <a:pt x="234" y="843"/>
                  </a:lnTo>
                  <a:lnTo>
                    <a:pt x="263" y="790"/>
                  </a:lnTo>
                  <a:lnTo>
                    <a:pt x="294" y="735"/>
                  </a:lnTo>
                  <a:lnTo>
                    <a:pt x="328" y="680"/>
                  </a:lnTo>
                  <a:lnTo>
                    <a:pt x="397" y="575"/>
                  </a:lnTo>
                  <a:lnTo>
                    <a:pt x="474" y="469"/>
                  </a:lnTo>
                  <a:lnTo>
                    <a:pt x="555" y="366"/>
                  </a:lnTo>
                  <a:lnTo>
                    <a:pt x="596" y="319"/>
                  </a:lnTo>
                  <a:lnTo>
                    <a:pt x="639" y="268"/>
                  </a:lnTo>
                  <a:lnTo>
                    <a:pt x="684" y="220"/>
                  </a:lnTo>
                  <a:lnTo>
                    <a:pt x="727" y="175"/>
                  </a:lnTo>
                  <a:lnTo>
                    <a:pt x="775" y="130"/>
                  </a:lnTo>
                  <a:lnTo>
                    <a:pt x="821" y="84"/>
                  </a:lnTo>
                  <a:lnTo>
                    <a:pt x="871" y="41"/>
                  </a:lnTo>
                  <a:lnTo>
                    <a:pt x="919" y="0"/>
                  </a:lnTo>
                  <a:lnTo>
                    <a:pt x="919" y="0"/>
                  </a:lnTo>
                  <a:lnTo>
                    <a:pt x="988" y="232"/>
                  </a:lnTo>
                  <a:lnTo>
                    <a:pt x="1058" y="479"/>
                  </a:lnTo>
                  <a:lnTo>
                    <a:pt x="1144" y="781"/>
                  </a:lnTo>
                  <a:lnTo>
                    <a:pt x="1232" y="1104"/>
                  </a:lnTo>
                  <a:lnTo>
                    <a:pt x="1314" y="1424"/>
                  </a:lnTo>
                  <a:lnTo>
                    <a:pt x="1352" y="1575"/>
                  </a:lnTo>
                  <a:lnTo>
                    <a:pt x="1383" y="1714"/>
                  </a:lnTo>
                  <a:lnTo>
                    <a:pt x="1410" y="1841"/>
                  </a:lnTo>
                  <a:lnTo>
                    <a:pt x="1426" y="1946"/>
                  </a:lnTo>
                  <a:lnTo>
                    <a:pt x="1426" y="1946"/>
                  </a:lnTo>
                  <a:close/>
                </a:path>
              </a:pathLst>
            </a:custGeom>
            <a:noFill/>
            <a:ln w="19050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1149" y="338"/>
              <a:ext cx="1101" cy="1914"/>
            </a:xfrm>
            <a:custGeom>
              <a:avLst/>
              <a:gdLst>
                <a:gd name="T0" fmla="*/ 1096 w 1101"/>
                <a:gd name="T1" fmla="*/ 1651 h 1914"/>
                <a:gd name="T2" fmla="*/ 1055 w 1101"/>
                <a:gd name="T3" fmla="*/ 1706 h 1914"/>
                <a:gd name="T4" fmla="*/ 1007 w 1101"/>
                <a:gd name="T5" fmla="*/ 1756 h 1914"/>
                <a:gd name="T6" fmla="*/ 955 w 1101"/>
                <a:gd name="T7" fmla="*/ 1800 h 1914"/>
                <a:gd name="T8" fmla="*/ 895 w 1101"/>
                <a:gd name="T9" fmla="*/ 1835 h 1914"/>
                <a:gd name="T10" fmla="*/ 830 w 1101"/>
                <a:gd name="T11" fmla="*/ 1867 h 1914"/>
                <a:gd name="T12" fmla="*/ 761 w 1101"/>
                <a:gd name="T13" fmla="*/ 1890 h 1914"/>
                <a:gd name="T14" fmla="*/ 687 w 1101"/>
                <a:gd name="T15" fmla="*/ 1905 h 1914"/>
                <a:gd name="T16" fmla="*/ 610 w 1101"/>
                <a:gd name="T17" fmla="*/ 1914 h 1914"/>
                <a:gd name="T18" fmla="*/ 577 w 1101"/>
                <a:gd name="T19" fmla="*/ 1914 h 1914"/>
                <a:gd name="T20" fmla="*/ 514 w 1101"/>
                <a:gd name="T21" fmla="*/ 1910 h 1914"/>
                <a:gd name="T22" fmla="*/ 452 w 1101"/>
                <a:gd name="T23" fmla="*/ 1900 h 1914"/>
                <a:gd name="T24" fmla="*/ 395 w 1101"/>
                <a:gd name="T25" fmla="*/ 1881 h 1914"/>
                <a:gd name="T26" fmla="*/ 340 w 1101"/>
                <a:gd name="T27" fmla="*/ 1859 h 1914"/>
                <a:gd name="T28" fmla="*/ 287 w 1101"/>
                <a:gd name="T29" fmla="*/ 1831 h 1914"/>
                <a:gd name="T30" fmla="*/ 239 w 1101"/>
                <a:gd name="T31" fmla="*/ 1797 h 1914"/>
                <a:gd name="T32" fmla="*/ 172 w 1101"/>
                <a:gd name="T33" fmla="*/ 1737 h 1914"/>
                <a:gd name="T34" fmla="*/ 100 w 1101"/>
                <a:gd name="T35" fmla="*/ 1646 h 1914"/>
                <a:gd name="T36" fmla="*/ 45 w 1101"/>
                <a:gd name="T37" fmla="*/ 1546 h 1914"/>
                <a:gd name="T38" fmla="*/ 9 w 1101"/>
                <a:gd name="T39" fmla="*/ 1436 h 1914"/>
                <a:gd name="T40" fmla="*/ 2 w 1101"/>
                <a:gd name="T41" fmla="*/ 1378 h 1914"/>
                <a:gd name="T42" fmla="*/ 0 w 1101"/>
                <a:gd name="T43" fmla="*/ 1323 h 1914"/>
                <a:gd name="T44" fmla="*/ 0 w 1101"/>
                <a:gd name="T45" fmla="*/ 1271 h 1914"/>
                <a:gd name="T46" fmla="*/ 14 w 1101"/>
                <a:gd name="T47" fmla="*/ 1168 h 1914"/>
                <a:gd name="T48" fmla="*/ 36 w 1101"/>
                <a:gd name="T49" fmla="*/ 1067 h 1914"/>
                <a:gd name="T50" fmla="*/ 69 w 1101"/>
                <a:gd name="T51" fmla="*/ 969 h 1914"/>
                <a:gd name="T52" fmla="*/ 112 w 1101"/>
                <a:gd name="T53" fmla="*/ 871 h 1914"/>
                <a:gd name="T54" fmla="*/ 162 w 1101"/>
                <a:gd name="T55" fmla="*/ 778 h 1914"/>
                <a:gd name="T56" fmla="*/ 220 w 1101"/>
                <a:gd name="T57" fmla="*/ 687 h 1914"/>
                <a:gd name="T58" fmla="*/ 284 w 1101"/>
                <a:gd name="T59" fmla="*/ 600 h 1914"/>
                <a:gd name="T60" fmla="*/ 356 w 1101"/>
                <a:gd name="T61" fmla="*/ 517 h 1914"/>
                <a:gd name="T62" fmla="*/ 474 w 1101"/>
                <a:gd name="T63" fmla="*/ 395 h 1914"/>
                <a:gd name="T64" fmla="*/ 641 w 1101"/>
                <a:gd name="T65" fmla="*/ 246 h 1914"/>
                <a:gd name="T66" fmla="*/ 818 w 1101"/>
                <a:gd name="T67" fmla="*/ 115 h 1914"/>
                <a:gd name="T68" fmla="*/ 998 w 1101"/>
                <a:gd name="T69" fmla="*/ 0 h 1914"/>
                <a:gd name="T70" fmla="*/ 1017 w 1101"/>
                <a:gd name="T71" fmla="*/ 170 h 1914"/>
                <a:gd name="T72" fmla="*/ 1055 w 1101"/>
                <a:gd name="T73" fmla="*/ 608 h 1914"/>
                <a:gd name="T74" fmla="*/ 1089 w 1101"/>
                <a:gd name="T75" fmla="*/ 1086 h 1914"/>
                <a:gd name="T76" fmla="*/ 1101 w 1101"/>
                <a:gd name="T77" fmla="*/ 1409 h 1914"/>
                <a:gd name="T78" fmla="*/ 1101 w 1101"/>
                <a:gd name="T79" fmla="*/ 1582 h 1914"/>
                <a:gd name="T80" fmla="*/ 1096 w 1101"/>
                <a:gd name="T81" fmla="*/ 1651 h 1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01" h="1914">
                  <a:moveTo>
                    <a:pt x="1096" y="1651"/>
                  </a:moveTo>
                  <a:lnTo>
                    <a:pt x="1096" y="1651"/>
                  </a:lnTo>
                  <a:lnTo>
                    <a:pt x="1077" y="1680"/>
                  </a:lnTo>
                  <a:lnTo>
                    <a:pt x="1055" y="1706"/>
                  </a:lnTo>
                  <a:lnTo>
                    <a:pt x="1031" y="1733"/>
                  </a:lnTo>
                  <a:lnTo>
                    <a:pt x="1007" y="1756"/>
                  </a:lnTo>
                  <a:lnTo>
                    <a:pt x="981" y="1778"/>
                  </a:lnTo>
                  <a:lnTo>
                    <a:pt x="955" y="1800"/>
                  </a:lnTo>
                  <a:lnTo>
                    <a:pt x="924" y="1819"/>
                  </a:lnTo>
                  <a:lnTo>
                    <a:pt x="895" y="1835"/>
                  </a:lnTo>
                  <a:lnTo>
                    <a:pt x="864" y="1852"/>
                  </a:lnTo>
                  <a:lnTo>
                    <a:pt x="830" y="1867"/>
                  </a:lnTo>
                  <a:lnTo>
                    <a:pt x="797" y="1878"/>
                  </a:lnTo>
                  <a:lnTo>
                    <a:pt x="761" y="1890"/>
                  </a:lnTo>
                  <a:lnTo>
                    <a:pt x="725" y="1898"/>
                  </a:lnTo>
                  <a:lnTo>
                    <a:pt x="687" y="1905"/>
                  </a:lnTo>
                  <a:lnTo>
                    <a:pt x="648" y="1910"/>
                  </a:lnTo>
                  <a:lnTo>
                    <a:pt x="610" y="1914"/>
                  </a:lnTo>
                  <a:lnTo>
                    <a:pt x="610" y="1914"/>
                  </a:lnTo>
                  <a:lnTo>
                    <a:pt x="577" y="1914"/>
                  </a:lnTo>
                  <a:lnTo>
                    <a:pt x="545" y="1912"/>
                  </a:lnTo>
                  <a:lnTo>
                    <a:pt x="514" y="1910"/>
                  </a:lnTo>
                  <a:lnTo>
                    <a:pt x="483" y="1905"/>
                  </a:lnTo>
                  <a:lnTo>
                    <a:pt x="452" y="1900"/>
                  </a:lnTo>
                  <a:lnTo>
                    <a:pt x="423" y="1890"/>
                  </a:lnTo>
                  <a:lnTo>
                    <a:pt x="395" y="1881"/>
                  </a:lnTo>
                  <a:lnTo>
                    <a:pt x="366" y="1871"/>
                  </a:lnTo>
                  <a:lnTo>
                    <a:pt x="340" y="1859"/>
                  </a:lnTo>
                  <a:lnTo>
                    <a:pt x="313" y="1845"/>
                  </a:lnTo>
                  <a:lnTo>
                    <a:pt x="287" y="1831"/>
                  </a:lnTo>
                  <a:lnTo>
                    <a:pt x="263" y="1814"/>
                  </a:lnTo>
                  <a:lnTo>
                    <a:pt x="239" y="1797"/>
                  </a:lnTo>
                  <a:lnTo>
                    <a:pt x="215" y="1778"/>
                  </a:lnTo>
                  <a:lnTo>
                    <a:pt x="172" y="1737"/>
                  </a:lnTo>
                  <a:lnTo>
                    <a:pt x="134" y="1694"/>
                  </a:lnTo>
                  <a:lnTo>
                    <a:pt x="100" y="1646"/>
                  </a:lnTo>
                  <a:lnTo>
                    <a:pt x="69" y="1596"/>
                  </a:lnTo>
                  <a:lnTo>
                    <a:pt x="45" y="1546"/>
                  </a:lnTo>
                  <a:lnTo>
                    <a:pt x="24" y="1491"/>
                  </a:lnTo>
                  <a:lnTo>
                    <a:pt x="9" y="1436"/>
                  </a:lnTo>
                  <a:lnTo>
                    <a:pt x="4" y="1407"/>
                  </a:lnTo>
                  <a:lnTo>
                    <a:pt x="2" y="1378"/>
                  </a:lnTo>
                  <a:lnTo>
                    <a:pt x="0" y="1350"/>
                  </a:lnTo>
                  <a:lnTo>
                    <a:pt x="0" y="1323"/>
                  </a:lnTo>
                  <a:lnTo>
                    <a:pt x="0" y="1323"/>
                  </a:lnTo>
                  <a:lnTo>
                    <a:pt x="0" y="1271"/>
                  </a:lnTo>
                  <a:lnTo>
                    <a:pt x="4" y="1218"/>
                  </a:lnTo>
                  <a:lnTo>
                    <a:pt x="14" y="1168"/>
                  </a:lnTo>
                  <a:lnTo>
                    <a:pt x="24" y="1117"/>
                  </a:lnTo>
                  <a:lnTo>
                    <a:pt x="36" y="1067"/>
                  </a:lnTo>
                  <a:lnTo>
                    <a:pt x="52" y="1017"/>
                  </a:lnTo>
                  <a:lnTo>
                    <a:pt x="69" y="969"/>
                  </a:lnTo>
                  <a:lnTo>
                    <a:pt x="88" y="919"/>
                  </a:lnTo>
                  <a:lnTo>
                    <a:pt x="112" y="871"/>
                  </a:lnTo>
                  <a:lnTo>
                    <a:pt x="136" y="825"/>
                  </a:lnTo>
                  <a:lnTo>
                    <a:pt x="162" y="778"/>
                  </a:lnTo>
                  <a:lnTo>
                    <a:pt x="191" y="732"/>
                  </a:lnTo>
                  <a:lnTo>
                    <a:pt x="220" y="687"/>
                  </a:lnTo>
                  <a:lnTo>
                    <a:pt x="253" y="644"/>
                  </a:lnTo>
                  <a:lnTo>
                    <a:pt x="284" y="600"/>
                  </a:lnTo>
                  <a:lnTo>
                    <a:pt x="320" y="557"/>
                  </a:lnTo>
                  <a:lnTo>
                    <a:pt x="356" y="517"/>
                  </a:lnTo>
                  <a:lnTo>
                    <a:pt x="395" y="474"/>
                  </a:lnTo>
                  <a:lnTo>
                    <a:pt x="474" y="395"/>
                  </a:lnTo>
                  <a:lnTo>
                    <a:pt x="555" y="320"/>
                  </a:lnTo>
                  <a:lnTo>
                    <a:pt x="641" y="246"/>
                  </a:lnTo>
                  <a:lnTo>
                    <a:pt x="727" y="179"/>
                  </a:lnTo>
                  <a:lnTo>
                    <a:pt x="818" y="115"/>
                  </a:lnTo>
                  <a:lnTo>
                    <a:pt x="909" y="55"/>
                  </a:lnTo>
                  <a:lnTo>
                    <a:pt x="998" y="0"/>
                  </a:lnTo>
                  <a:lnTo>
                    <a:pt x="998" y="0"/>
                  </a:lnTo>
                  <a:lnTo>
                    <a:pt x="1017" y="170"/>
                  </a:lnTo>
                  <a:lnTo>
                    <a:pt x="1036" y="378"/>
                  </a:lnTo>
                  <a:lnTo>
                    <a:pt x="1055" y="608"/>
                  </a:lnTo>
                  <a:lnTo>
                    <a:pt x="1074" y="847"/>
                  </a:lnTo>
                  <a:lnTo>
                    <a:pt x="1089" y="1086"/>
                  </a:lnTo>
                  <a:lnTo>
                    <a:pt x="1098" y="1309"/>
                  </a:lnTo>
                  <a:lnTo>
                    <a:pt x="1101" y="1409"/>
                  </a:lnTo>
                  <a:lnTo>
                    <a:pt x="1101" y="1500"/>
                  </a:lnTo>
                  <a:lnTo>
                    <a:pt x="1101" y="1582"/>
                  </a:lnTo>
                  <a:lnTo>
                    <a:pt x="1096" y="1651"/>
                  </a:lnTo>
                  <a:lnTo>
                    <a:pt x="1096" y="1651"/>
                  </a:lnTo>
                  <a:close/>
                </a:path>
              </a:pathLst>
            </a:custGeom>
            <a:noFill/>
            <a:ln w="19050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1979" y="2209"/>
              <a:ext cx="1994" cy="1185"/>
            </a:xfrm>
            <a:custGeom>
              <a:avLst/>
              <a:gdLst>
                <a:gd name="T0" fmla="*/ 1994 w 1994"/>
                <a:gd name="T1" fmla="*/ 627 h 1185"/>
                <a:gd name="T2" fmla="*/ 1932 w 1994"/>
                <a:gd name="T3" fmla="*/ 678 h 1185"/>
                <a:gd name="T4" fmla="*/ 1826 w 1994"/>
                <a:gd name="T5" fmla="*/ 757 h 1185"/>
                <a:gd name="T6" fmla="*/ 1678 w 1994"/>
                <a:gd name="T7" fmla="*/ 857 h 1185"/>
                <a:gd name="T8" fmla="*/ 1491 w 1994"/>
                <a:gd name="T9" fmla="*/ 960 h 1185"/>
                <a:gd name="T10" fmla="*/ 1386 w 1994"/>
                <a:gd name="T11" fmla="*/ 1013 h 1185"/>
                <a:gd name="T12" fmla="*/ 1274 w 1994"/>
                <a:gd name="T13" fmla="*/ 1058 h 1185"/>
                <a:gd name="T14" fmla="*/ 1154 w 1994"/>
                <a:gd name="T15" fmla="*/ 1101 h 1185"/>
                <a:gd name="T16" fmla="*/ 1027 w 1994"/>
                <a:gd name="T17" fmla="*/ 1137 h 1185"/>
                <a:gd name="T18" fmla="*/ 898 w 1994"/>
                <a:gd name="T19" fmla="*/ 1163 h 1185"/>
                <a:gd name="T20" fmla="*/ 761 w 1994"/>
                <a:gd name="T21" fmla="*/ 1180 h 1185"/>
                <a:gd name="T22" fmla="*/ 623 w 1994"/>
                <a:gd name="T23" fmla="*/ 1185 h 1185"/>
                <a:gd name="T24" fmla="*/ 582 w 1994"/>
                <a:gd name="T25" fmla="*/ 1183 h 1185"/>
                <a:gd name="T26" fmla="*/ 505 w 1994"/>
                <a:gd name="T27" fmla="*/ 1175 h 1185"/>
                <a:gd name="T28" fmla="*/ 431 w 1994"/>
                <a:gd name="T29" fmla="*/ 1159 h 1185"/>
                <a:gd name="T30" fmla="*/ 364 w 1994"/>
                <a:gd name="T31" fmla="*/ 1137 h 1185"/>
                <a:gd name="T32" fmla="*/ 304 w 1994"/>
                <a:gd name="T33" fmla="*/ 1111 h 1185"/>
                <a:gd name="T34" fmla="*/ 249 w 1994"/>
                <a:gd name="T35" fmla="*/ 1077 h 1185"/>
                <a:gd name="T36" fmla="*/ 199 w 1994"/>
                <a:gd name="T37" fmla="*/ 1039 h 1185"/>
                <a:gd name="T38" fmla="*/ 153 w 1994"/>
                <a:gd name="T39" fmla="*/ 998 h 1185"/>
                <a:gd name="T40" fmla="*/ 115 w 1994"/>
                <a:gd name="T41" fmla="*/ 953 h 1185"/>
                <a:gd name="T42" fmla="*/ 82 w 1994"/>
                <a:gd name="T43" fmla="*/ 905 h 1185"/>
                <a:gd name="T44" fmla="*/ 55 w 1994"/>
                <a:gd name="T45" fmla="*/ 852 h 1185"/>
                <a:gd name="T46" fmla="*/ 24 w 1994"/>
                <a:gd name="T47" fmla="*/ 773 h 1185"/>
                <a:gd name="T48" fmla="*/ 3 w 1994"/>
                <a:gd name="T49" fmla="*/ 666 h 1185"/>
                <a:gd name="T50" fmla="*/ 5 w 1994"/>
                <a:gd name="T51" fmla="*/ 558 h 1185"/>
                <a:gd name="T52" fmla="*/ 12 w 1994"/>
                <a:gd name="T53" fmla="*/ 508 h 1185"/>
                <a:gd name="T54" fmla="*/ 36 w 1994"/>
                <a:gd name="T55" fmla="*/ 414 h 1185"/>
                <a:gd name="T56" fmla="*/ 72 w 1994"/>
                <a:gd name="T57" fmla="*/ 326 h 1185"/>
                <a:gd name="T58" fmla="*/ 118 w 1994"/>
                <a:gd name="T59" fmla="*/ 244 h 1185"/>
                <a:gd name="T60" fmla="*/ 173 w 1994"/>
                <a:gd name="T61" fmla="*/ 170 h 1185"/>
                <a:gd name="T62" fmla="*/ 240 w 1994"/>
                <a:gd name="T63" fmla="*/ 108 h 1185"/>
                <a:gd name="T64" fmla="*/ 314 w 1994"/>
                <a:gd name="T65" fmla="*/ 55 h 1185"/>
                <a:gd name="T66" fmla="*/ 395 w 1994"/>
                <a:gd name="T67" fmla="*/ 17 h 1185"/>
                <a:gd name="T68" fmla="*/ 438 w 1994"/>
                <a:gd name="T69" fmla="*/ 0 h 1185"/>
                <a:gd name="T70" fmla="*/ 584 w 1994"/>
                <a:gd name="T71" fmla="*/ 46 h 1185"/>
                <a:gd name="T72" fmla="*/ 769 w 1994"/>
                <a:gd name="T73" fmla="*/ 113 h 1185"/>
                <a:gd name="T74" fmla="*/ 1207 w 1994"/>
                <a:gd name="T75" fmla="*/ 285 h 1185"/>
                <a:gd name="T76" fmla="*/ 1649 w 1994"/>
                <a:gd name="T77" fmla="*/ 474 h 1185"/>
                <a:gd name="T78" fmla="*/ 1994 w 1994"/>
                <a:gd name="T79" fmla="*/ 627 h 1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94" h="1185">
                  <a:moveTo>
                    <a:pt x="1994" y="627"/>
                  </a:moveTo>
                  <a:lnTo>
                    <a:pt x="1994" y="627"/>
                  </a:lnTo>
                  <a:lnTo>
                    <a:pt x="1965" y="651"/>
                  </a:lnTo>
                  <a:lnTo>
                    <a:pt x="1932" y="678"/>
                  </a:lnTo>
                  <a:lnTo>
                    <a:pt x="1884" y="716"/>
                  </a:lnTo>
                  <a:lnTo>
                    <a:pt x="1826" y="757"/>
                  </a:lnTo>
                  <a:lnTo>
                    <a:pt x="1757" y="804"/>
                  </a:lnTo>
                  <a:lnTo>
                    <a:pt x="1678" y="857"/>
                  </a:lnTo>
                  <a:lnTo>
                    <a:pt x="1590" y="910"/>
                  </a:lnTo>
                  <a:lnTo>
                    <a:pt x="1491" y="960"/>
                  </a:lnTo>
                  <a:lnTo>
                    <a:pt x="1439" y="986"/>
                  </a:lnTo>
                  <a:lnTo>
                    <a:pt x="1386" y="1013"/>
                  </a:lnTo>
                  <a:lnTo>
                    <a:pt x="1331" y="1037"/>
                  </a:lnTo>
                  <a:lnTo>
                    <a:pt x="1274" y="1058"/>
                  </a:lnTo>
                  <a:lnTo>
                    <a:pt x="1214" y="1080"/>
                  </a:lnTo>
                  <a:lnTo>
                    <a:pt x="1154" y="1101"/>
                  </a:lnTo>
                  <a:lnTo>
                    <a:pt x="1092" y="1120"/>
                  </a:lnTo>
                  <a:lnTo>
                    <a:pt x="1027" y="1137"/>
                  </a:lnTo>
                  <a:lnTo>
                    <a:pt x="962" y="1151"/>
                  </a:lnTo>
                  <a:lnTo>
                    <a:pt x="898" y="1163"/>
                  </a:lnTo>
                  <a:lnTo>
                    <a:pt x="831" y="1173"/>
                  </a:lnTo>
                  <a:lnTo>
                    <a:pt x="761" y="1180"/>
                  </a:lnTo>
                  <a:lnTo>
                    <a:pt x="692" y="1185"/>
                  </a:lnTo>
                  <a:lnTo>
                    <a:pt x="623" y="1185"/>
                  </a:lnTo>
                  <a:lnTo>
                    <a:pt x="623" y="1185"/>
                  </a:lnTo>
                  <a:lnTo>
                    <a:pt x="582" y="1183"/>
                  </a:lnTo>
                  <a:lnTo>
                    <a:pt x="544" y="1180"/>
                  </a:lnTo>
                  <a:lnTo>
                    <a:pt x="505" y="1175"/>
                  </a:lnTo>
                  <a:lnTo>
                    <a:pt x="467" y="1168"/>
                  </a:lnTo>
                  <a:lnTo>
                    <a:pt x="431" y="1159"/>
                  </a:lnTo>
                  <a:lnTo>
                    <a:pt x="398" y="1149"/>
                  </a:lnTo>
                  <a:lnTo>
                    <a:pt x="364" y="1137"/>
                  </a:lnTo>
                  <a:lnTo>
                    <a:pt x="333" y="1125"/>
                  </a:lnTo>
                  <a:lnTo>
                    <a:pt x="304" y="1111"/>
                  </a:lnTo>
                  <a:lnTo>
                    <a:pt x="275" y="1094"/>
                  </a:lnTo>
                  <a:lnTo>
                    <a:pt x="249" y="1077"/>
                  </a:lnTo>
                  <a:lnTo>
                    <a:pt x="223" y="1058"/>
                  </a:lnTo>
                  <a:lnTo>
                    <a:pt x="199" y="1039"/>
                  </a:lnTo>
                  <a:lnTo>
                    <a:pt x="175" y="1020"/>
                  </a:lnTo>
                  <a:lnTo>
                    <a:pt x="153" y="998"/>
                  </a:lnTo>
                  <a:lnTo>
                    <a:pt x="134" y="974"/>
                  </a:lnTo>
                  <a:lnTo>
                    <a:pt x="115" y="953"/>
                  </a:lnTo>
                  <a:lnTo>
                    <a:pt x="98" y="929"/>
                  </a:lnTo>
                  <a:lnTo>
                    <a:pt x="82" y="905"/>
                  </a:lnTo>
                  <a:lnTo>
                    <a:pt x="67" y="879"/>
                  </a:lnTo>
                  <a:lnTo>
                    <a:pt x="55" y="852"/>
                  </a:lnTo>
                  <a:lnTo>
                    <a:pt x="43" y="826"/>
                  </a:lnTo>
                  <a:lnTo>
                    <a:pt x="24" y="773"/>
                  </a:lnTo>
                  <a:lnTo>
                    <a:pt x="10" y="721"/>
                  </a:lnTo>
                  <a:lnTo>
                    <a:pt x="3" y="666"/>
                  </a:lnTo>
                  <a:lnTo>
                    <a:pt x="0" y="611"/>
                  </a:lnTo>
                  <a:lnTo>
                    <a:pt x="5" y="558"/>
                  </a:lnTo>
                  <a:lnTo>
                    <a:pt x="5" y="558"/>
                  </a:lnTo>
                  <a:lnTo>
                    <a:pt x="12" y="508"/>
                  </a:lnTo>
                  <a:lnTo>
                    <a:pt x="22" y="460"/>
                  </a:lnTo>
                  <a:lnTo>
                    <a:pt x="36" y="414"/>
                  </a:lnTo>
                  <a:lnTo>
                    <a:pt x="53" y="369"/>
                  </a:lnTo>
                  <a:lnTo>
                    <a:pt x="72" y="326"/>
                  </a:lnTo>
                  <a:lnTo>
                    <a:pt x="94" y="283"/>
                  </a:lnTo>
                  <a:lnTo>
                    <a:pt x="118" y="244"/>
                  </a:lnTo>
                  <a:lnTo>
                    <a:pt x="144" y="206"/>
                  </a:lnTo>
                  <a:lnTo>
                    <a:pt x="173" y="170"/>
                  </a:lnTo>
                  <a:lnTo>
                    <a:pt x="206" y="139"/>
                  </a:lnTo>
                  <a:lnTo>
                    <a:pt x="240" y="108"/>
                  </a:lnTo>
                  <a:lnTo>
                    <a:pt x="275" y="82"/>
                  </a:lnTo>
                  <a:lnTo>
                    <a:pt x="314" y="55"/>
                  </a:lnTo>
                  <a:lnTo>
                    <a:pt x="352" y="34"/>
                  </a:lnTo>
                  <a:lnTo>
                    <a:pt x="395" y="17"/>
                  </a:lnTo>
                  <a:lnTo>
                    <a:pt x="438" y="0"/>
                  </a:lnTo>
                  <a:lnTo>
                    <a:pt x="438" y="0"/>
                  </a:lnTo>
                  <a:lnTo>
                    <a:pt x="505" y="19"/>
                  </a:lnTo>
                  <a:lnTo>
                    <a:pt x="584" y="46"/>
                  </a:lnTo>
                  <a:lnTo>
                    <a:pt x="673" y="77"/>
                  </a:lnTo>
                  <a:lnTo>
                    <a:pt x="769" y="113"/>
                  </a:lnTo>
                  <a:lnTo>
                    <a:pt x="979" y="194"/>
                  </a:lnTo>
                  <a:lnTo>
                    <a:pt x="1207" y="285"/>
                  </a:lnTo>
                  <a:lnTo>
                    <a:pt x="1434" y="381"/>
                  </a:lnTo>
                  <a:lnTo>
                    <a:pt x="1649" y="474"/>
                  </a:lnTo>
                  <a:lnTo>
                    <a:pt x="1841" y="558"/>
                  </a:lnTo>
                  <a:lnTo>
                    <a:pt x="1994" y="627"/>
                  </a:lnTo>
                  <a:lnTo>
                    <a:pt x="1994" y="627"/>
                  </a:lnTo>
                  <a:close/>
                </a:path>
              </a:pathLst>
            </a:custGeom>
            <a:noFill/>
            <a:ln w="19050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2508" y="558"/>
              <a:ext cx="1910" cy="1560"/>
            </a:xfrm>
            <a:custGeom>
              <a:avLst/>
              <a:gdLst>
                <a:gd name="T0" fmla="*/ 125 w 1910"/>
                <a:gd name="T1" fmla="*/ 1264 h 1560"/>
                <a:gd name="T2" fmla="*/ 74 w 1910"/>
                <a:gd name="T3" fmla="*/ 1175 h 1560"/>
                <a:gd name="T4" fmla="*/ 34 w 1910"/>
                <a:gd name="T5" fmla="*/ 1072 h 1560"/>
                <a:gd name="T6" fmla="*/ 7 w 1910"/>
                <a:gd name="T7" fmla="*/ 955 h 1560"/>
                <a:gd name="T8" fmla="*/ 0 w 1910"/>
                <a:gd name="T9" fmla="*/ 890 h 1560"/>
                <a:gd name="T10" fmla="*/ 0 w 1910"/>
                <a:gd name="T11" fmla="*/ 828 h 1560"/>
                <a:gd name="T12" fmla="*/ 7 w 1910"/>
                <a:gd name="T13" fmla="*/ 761 h 1560"/>
                <a:gd name="T14" fmla="*/ 22 w 1910"/>
                <a:gd name="T15" fmla="*/ 696 h 1560"/>
                <a:gd name="T16" fmla="*/ 46 w 1910"/>
                <a:gd name="T17" fmla="*/ 629 h 1560"/>
                <a:gd name="T18" fmla="*/ 77 w 1910"/>
                <a:gd name="T19" fmla="*/ 565 h 1560"/>
                <a:gd name="T20" fmla="*/ 120 w 1910"/>
                <a:gd name="T21" fmla="*/ 500 h 1560"/>
                <a:gd name="T22" fmla="*/ 173 w 1910"/>
                <a:gd name="T23" fmla="*/ 438 h 1560"/>
                <a:gd name="T24" fmla="*/ 235 w 1910"/>
                <a:gd name="T25" fmla="*/ 376 h 1560"/>
                <a:gd name="T26" fmla="*/ 311 w 1910"/>
                <a:gd name="T27" fmla="*/ 318 h 1560"/>
                <a:gd name="T28" fmla="*/ 374 w 1910"/>
                <a:gd name="T29" fmla="*/ 278 h 1560"/>
                <a:gd name="T30" fmla="*/ 503 w 1910"/>
                <a:gd name="T31" fmla="*/ 206 h 1560"/>
                <a:gd name="T32" fmla="*/ 637 w 1910"/>
                <a:gd name="T33" fmla="*/ 146 h 1560"/>
                <a:gd name="T34" fmla="*/ 773 w 1910"/>
                <a:gd name="T35" fmla="*/ 100 h 1560"/>
                <a:gd name="T36" fmla="*/ 910 w 1910"/>
                <a:gd name="T37" fmla="*/ 65 h 1560"/>
                <a:gd name="T38" fmla="*/ 1044 w 1910"/>
                <a:gd name="T39" fmla="*/ 36 h 1560"/>
                <a:gd name="T40" fmla="*/ 1173 w 1910"/>
                <a:gd name="T41" fmla="*/ 17 h 1560"/>
                <a:gd name="T42" fmla="*/ 1360 w 1910"/>
                <a:gd name="T43" fmla="*/ 2 h 1560"/>
                <a:gd name="T44" fmla="*/ 1580 w 1910"/>
                <a:gd name="T45" fmla="*/ 0 h 1560"/>
                <a:gd name="T46" fmla="*/ 1755 w 1910"/>
                <a:gd name="T47" fmla="*/ 12 h 1560"/>
                <a:gd name="T48" fmla="*/ 1870 w 1910"/>
                <a:gd name="T49" fmla="*/ 24 h 1560"/>
                <a:gd name="T50" fmla="*/ 1910 w 1910"/>
                <a:gd name="T51" fmla="*/ 31 h 1560"/>
                <a:gd name="T52" fmla="*/ 1891 w 1910"/>
                <a:gd name="T53" fmla="*/ 120 h 1560"/>
                <a:gd name="T54" fmla="*/ 1850 w 1910"/>
                <a:gd name="T55" fmla="*/ 261 h 1560"/>
                <a:gd name="T56" fmla="*/ 1783 w 1910"/>
                <a:gd name="T57" fmla="*/ 448 h 1560"/>
                <a:gd name="T58" fmla="*/ 1690 w 1910"/>
                <a:gd name="T59" fmla="*/ 665 h 1560"/>
                <a:gd name="T60" fmla="*/ 1630 w 1910"/>
                <a:gd name="T61" fmla="*/ 780 h 1560"/>
                <a:gd name="T62" fmla="*/ 1561 w 1910"/>
                <a:gd name="T63" fmla="*/ 897 h 1560"/>
                <a:gd name="T64" fmla="*/ 1484 w 1910"/>
                <a:gd name="T65" fmla="*/ 1012 h 1560"/>
                <a:gd name="T66" fmla="*/ 1396 w 1910"/>
                <a:gd name="T67" fmla="*/ 1125 h 1560"/>
                <a:gd name="T68" fmla="*/ 1300 w 1910"/>
                <a:gd name="T69" fmla="*/ 1232 h 1560"/>
                <a:gd name="T70" fmla="*/ 1190 w 1910"/>
                <a:gd name="T71" fmla="*/ 1331 h 1560"/>
                <a:gd name="T72" fmla="*/ 1072 w 1910"/>
                <a:gd name="T73" fmla="*/ 1424 h 1560"/>
                <a:gd name="T74" fmla="*/ 1032 w 1910"/>
                <a:gd name="T75" fmla="*/ 1450 h 1560"/>
                <a:gd name="T76" fmla="*/ 950 w 1910"/>
                <a:gd name="T77" fmla="*/ 1493 h 1560"/>
                <a:gd name="T78" fmla="*/ 871 w 1910"/>
                <a:gd name="T79" fmla="*/ 1524 h 1560"/>
                <a:gd name="T80" fmla="*/ 797 w 1910"/>
                <a:gd name="T81" fmla="*/ 1546 h 1560"/>
                <a:gd name="T82" fmla="*/ 723 w 1910"/>
                <a:gd name="T83" fmla="*/ 1558 h 1560"/>
                <a:gd name="T84" fmla="*/ 651 w 1910"/>
                <a:gd name="T85" fmla="*/ 1560 h 1560"/>
                <a:gd name="T86" fmla="*/ 584 w 1910"/>
                <a:gd name="T87" fmla="*/ 1556 h 1560"/>
                <a:gd name="T88" fmla="*/ 520 w 1910"/>
                <a:gd name="T89" fmla="*/ 1541 h 1560"/>
                <a:gd name="T90" fmla="*/ 457 w 1910"/>
                <a:gd name="T91" fmla="*/ 1522 h 1560"/>
                <a:gd name="T92" fmla="*/ 400 w 1910"/>
                <a:gd name="T93" fmla="*/ 1496 h 1560"/>
                <a:gd name="T94" fmla="*/ 319 w 1910"/>
                <a:gd name="T95" fmla="*/ 1450 h 1560"/>
                <a:gd name="T96" fmla="*/ 228 w 1910"/>
                <a:gd name="T97" fmla="*/ 1378 h 1560"/>
                <a:gd name="T98" fmla="*/ 153 w 1910"/>
                <a:gd name="T99" fmla="*/ 1302 h 1560"/>
                <a:gd name="T100" fmla="*/ 125 w 1910"/>
                <a:gd name="T101" fmla="*/ 1264 h 1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910" h="1560">
                  <a:moveTo>
                    <a:pt x="125" y="1264"/>
                  </a:moveTo>
                  <a:lnTo>
                    <a:pt x="125" y="1264"/>
                  </a:lnTo>
                  <a:lnTo>
                    <a:pt x="98" y="1221"/>
                  </a:lnTo>
                  <a:lnTo>
                    <a:pt x="74" y="1175"/>
                  </a:lnTo>
                  <a:lnTo>
                    <a:pt x="53" y="1125"/>
                  </a:lnTo>
                  <a:lnTo>
                    <a:pt x="34" y="1072"/>
                  </a:lnTo>
                  <a:lnTo>
                    <a:pt x="17" y="1015"/>
                  </a:lnTo>
                  <a:lnTo>
                    <a:pt x="7" y="955"/>
                  </a:lnTo>
                  <a:lnTo>
                    <a:pt x="3" y="924"/>
                  </a:lnTo>
                  <a:lnTo>
                    <a:pt x="0" y="890"/>
                  </a:lnTo>
                  <a:lnTo>
                    <a:pt x="0" y="859"/>
                  </a:lnTo>
                  <a:lnTo>
                    <a:pt x="0" y="828"/>
                  </a:lnTo>
                  <a:lnTo>
                    <a:pt x="5" y="795"/>
                  </a:lnTo>
                  <a:lnTo>
                    <a:pt x="7" y="761"/>
                  </a:lnTo>
                  <a:lnTo>
                    <a:pt x="15" y="730"/>
                  </a:lnTo>
                  <a:lnTo>
                    <a:pt x="22" y="696"/>
                  </a:lnTo>
                  <a:lnTo>
                    <a:pt x="34" y="663"/>
                  </a:lnTo>
                  <a:lnTo>
                    <a:pt x="46" y="629"/>
                  </a:lnTo>
                  <a:lnTo>
                    <a:pt x="60" y="598"/>
                  </a:lnTo>
                  <a:lnTo>
                    <a:pt x="77" y="565"/>
                  </a:lnTo>
                  <a:lnTo>
                    <a:pt x="96" y="531"/>
                  </a:lnTo>
                  <a:lnTo>
                    <a:pt x="120" y="500"/>
                  </a:lnTo>
                  <a:lnTo>
                    <a:pt x="144" y="469"/>
                  </a:lnTo>
                  <a:lnTo>
                    <a:pt x="173" y="438"/>
                  </a:lnTo>
                  <a:lnTo>
                    <a:pt x="201" y="407"/>
                  </a:lnTo>
                  <a:lnTo>
                    <a:pt x="235" y="376"/>
                  </a:lnTo>
                  <a:lnTo>
                    <a:pt x="271" y="347"/>
                  </a:lnTo>
                  <a:lnTo>
                    <a:pt x="311" y="318"/>
                  </a:lnTo>
                  <a:lnTo>
                    <a:pt x="311" y="318"/>
                  </a:lnTo>
                  <a:lnTo>
                    <a:pt x="374" y="278"/>
                  </a:lnTo>
                  <a:lnTo>
                    <a:pt x="438" y="239"/>
                  </a:lnTo>
                  <a:lnTo>
                    <a:pt x="503" y="206"/>
                  </a:lnTo>
                  <a:lnTo>
                    <a:pt x="570" y="175"/>
                  </a:lnTo>
                  <a:lnTo>
                    <a:pt x="637" y="146"/>
                  </a:lnTo>
                  <a:lnTo>
                    <a:pt x="704" y="122"/>
                  </a:lnTo>
                  <a:lnTo>
                    <a:pt x="773" y="100"/>
                  </a:lnTo>
                  <a:lnTo>
                    <a:pt x="840" y="81"/>
                  </a:lnTo>
                  <a:lnTo>
                    <a:pt x="910" y="65"/>
                  </a:lnTo>
                  <a:lnTo>
                    <a:pt x="977" y="48"/>
                  </a:lnTo>
                  <a:lnTo>
                    <a:pt x="1044" y="36"/>
                  </a:lnTo>
                  <a:lnTo>
                    <a:pt x="1108" y="26"/>
                  </a:lnTo>
                  <a:lnTo>
                    <a:pt x="1173" y="17"/>
                  </a:lnTo>
                  <a:lnTo>
                    <a:pt x="1238" y="12"/>
                  </a:lnTo>
                  <a:lnTo>
                    <a:pt x="1360" y="2"/>
                  </a:lnTo>
                  <a:lnTo>
                    <a:pt x="1475" y="0"/>
                  </a:lnTo>
                  <a:lnTo>
                    <a:pt x="1580" y="0"/>
                  </a:lnTo>
                  <a:lnTo>
                    <a:pt x="1673" y="5"/>
                  </a:lnTo>
                  <a:lnTo>
                    <a:pt x="1755" y="12"/>
                  </a:lnTo>
                  <a:lnTo>
                    <a:pt x="1819" y="17"/>
                  </a:lnTo>
                  <a:lnTo>
                    <a:pt x="1870" y="24"/>
                  </a:lnTo>
                  <a:lnTo>
                    <a:pt x="1910" y="31"/>
                  </a:lnTo>
                  <a:lnTo>
                    <a:pt x="1910" y="31"/>
                  </a:lnTo>
                  <a:lnTo>
                    <a:pt x="1901" y="72"/>
                  </a:lnTo>
                  <a:lnTo>
                    <a:pt x="1891" y="120"/>
                  </a:lnTo>
                  <a:lnTo>
                    <a:pt x="1872" y="184"/>
                  </a:lnTo>
                  <a:lnTo>
                    <a:pt x="1850" y="261"/>
                  </a:lnTo>
                  <a:lnTo>
                    <a:pt x="1819" y="349"/>
                  </a:lnTo>
                  <a:lnTo>
                    <a:pt x="1783" y="448"/>
                  </a:lnTo>
                  <a:lnTo>
                    <a:pt x="1740" y="555"/>
                  </a:lnTo>
                  <a:lnTo>
                    <a:pt x="1690" y="665"/>
                  </a:lnTo>
                  <a:lnTo>
                    <a:pt x="1661" y="723"/>
                  </a:lnTo>
                  <a:lnTo>
                    <a:pt x="1630" y="780"/>
                  </a:lnTo>
                  <a:lnTo>
                    <a:pt x="1597" y="840"/>
                  </a:lnTo>
                  <a:lnTo>
                    <a:pt x="1561" y="897"/>
                  </a:lnTo>
                  <a:lnTo>
                    <a:pt x="1522" y="955"/>
                  </a:lnTo>
                  <a:lnTo>
                    <a:pt x="1484" y="1012"/>
                  </a:lnTo>
                  <a:lnTo>
                    <a:pt x="1441" y="1067"/>
                  </a:lnTo>
                  <a:lnTo>
                    <a:pt x="1396" y="1125"/>
                  </a:lnTo>
                  <a:lnTo>
                    <a:pt x="1348" y="1177"/>
                  </a:lnTo>
                  <a:lnTo>
                    <a:pt x="1300" y="1232"/>
                  </a:lnTo>
                  <a:lnTo>
                    <a:pt x="1247" y="1283"/>
                  </a:lnTo>
                  <a:lnTo>
                    <a:pt x="1190" y="1331"/>
                  </a:lnTo>
                  <a:lnTo>
                    <a:pt x="1132" y="1378"/>
                  </a:lnTo>
                  <a:lnTo>
                    <a:pt x="1072" y="1424"/>
                  </a:lnTo>
                  <a:lnTo>
                    <a:pt x="1072" y="1424"/>
                  </a:lnTo>
                  <a:lnTo>
                    <a:pt x="1032" y="1450"/>
                  </a:lnTo>
                  <a:lnTo>
                    <a:pt x="991" y="1472"/>
                  </a:lnTo>
                  <a:lnTo>
                    <a:pt x="950" y="1493"/>
                  </a:lnTo>
                  <a:lnTo>
                    <a:pt x="912" y="1510"/>
                  </a:lnTo>
                  <a:lnTo>
                    <a:pt x="871" y="1524"/>
                  </a:lnTo>
                  <a:lnTo>
                    <a:pt x="833" y="1536"/>
                  </a:lnTo>
                  <a:lnTo>
                    <a:pt x="797" y="1546"/>
                  </a:lnTo>
                  <a:lnTo>
                    <a:pt x="759" y="1553"/>
                  </a:lnTo>
                  <a:lnTo>
                    <a:pt x="723" y="1558"/>
                  </a:lnTo>
                  <a:lnTo>
                    <a:pt x="687" y="1560"/>
                  </a:lnTo>
                  <a:lnTo>
                    <a:pt x="651" y="1560"/>
                  </a:lnTo>
                  <a:lnTo>
                    <a:pt x="618" y="1558"/>
                  </a:lnTo>
                  <a:lnTo>
                    <a:pt x="584" y="1556"/>
                  </a:lnTo>
                  <a:lnTo>
                    <a:pt x="551" y="1548"/>
                  </a:lnTo>
                  <a:lnTo>
                    <a:pt x="520" y="1541"/>
                  </a:lnTo>
                  <a:lnTo>
                    <a:pt x="488" y="1532"/>
                  </a:lnTo>
                  <a:lnTo>
                    <a:pt x="457" y="1522"/>
                  </a:lnTo>
                  <a:lnTo>
                    <a:pt x="429" y="1510"/>
                  </a:lnTo>
                  <a:lnTo>
                    <a:pt x="400" y="1496"/>
                  </a:lnTo>
                  <a:lnTo>
                    <a:pt x="371" y="1481"/>
                  </a:lnTo>
                  <a:lnTo>
                    <a:pt x="319" y="1450"/>
                  </a:lnTo>
                  <a:lnTo>
                    <a:pt x="271" y="1417"/>
                  </a:lnTo>
                  <a:lnTo>
                    <a:pt x="228" y="1378"/>
                  </a:lnTo>
                  <a:lnTo>
                    <a:pt x="189" y="1340"/>
                  </a:lnTo>
                  <a:lnTo>
                    <a:pt x="153" y="1302"/>
                  </a:lnTo>
                  <a:lnTo>
                    <a:pt x="125" y="1264"/>
                  </a:lnTo>
                  <a:lnTo>
                    <a:pt x="125" y="1264"/>
                  </a:lnTo>
                  <a:close/>
                </a:path>
              </a:pathLst>
            </a:custGeom>
            <a:noFill/>
            <a:ln w="19050">
              <a:solidFill>
                <a:schemeClr val="accent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917638" y="1083056"/>
            <a:ext cx="4793975" cy="1508124"/>
          </a:xfrm>
        </p:spPr>
        <p:txBody>
          <a:bodyPr anchor="b">
            <a:noAutofit/>
          </a:bodyPr>
          <a:lstStyle>
            <a:lvl1pPr algn="r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917638" y="2718921"/>
            <a:ext cx="4793975" cy="1655762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162"/>
          <a:stretch/>
        </p:blipFill>
        <p:spPr>
          <a:xfrm>
            <a:off x="10026294" y="4942726"/>
            <a:ext cx="1578335" cy="1410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324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31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1393" y="2782957"/>
            <a:ext cx="7006259" cy="361784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52449" y="309636"/>
            <a:ext cx="10839451" cy="6723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658813" y="2782963"/>
            <a:ext cx="3833675" cy="3617841"/>
          </a:xfrm>
        </p:spPr>
        <p:txBody>
          <a:bodyPr/>
          <a:lstStyle/>
          <a:p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52454" y="2135244"/>
            <a:ext cx="11125199" cy="457200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959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2453" y="2305882"/>
            <a:ext cx="5467351" cy="38710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2305882"/>
            <a:ext cx="5505451" cy="38710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390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455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9439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417445" y="895350"/>
            <a:ext cx="11280915" cy="525946"/>
          </a:xfrm>
          <a:prstGeom prst="rect">
            <a:avLst/>
          </a:prstGeom>
          <a:solidFill>
            <a:srgbClr val="003B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086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tal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6197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52449" y="337344"/>
            <a:ext cx="10839451" cy="6723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4048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8463962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75" b="8216"/>
          <a:stretch/>
        </p:blipFill>
        <p:spPr>
          <a:xfrm>
            <a:off x="6331357" y="2213207"/>
            <a:ext cx="5856791" cy="464479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453" y="2247902"/>
            <a:ext cx="5543551" cy="415289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52449" y="337344"/>
            <a:ext cx="10839451" cy="6723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Freeform 11"/>
          <p:cNvSpPr>
            <a:spLocks/>
          </p:cNvSpPr>
          <p:nvPr userDrawn="1"/>
        </p:nvSpPr>
        <p:spPr bwMode="auto">
          <a:xfrm>
            <a:off x="5968633" y="2639158"/>
            <a:ext cx="7573747" cy="6302700"/>
          </a:xfrm>
          <a:custGeom>
            <a:avLst/>
            <a:gdLst>
              <a:gd name="T0" fmla="*/ 2027 w 2163"/>
              <a:gd name="T1" fmla="*/ 1450 h 1800"/>
              <a:gd name="T2" fmla="*/ 2071 w 2163"/>
              <a:gd name="T3" fmla="*/ 1374 h 1800"/>
              <a:gd name="T4" fmla="*/ 2110 w 2163"/>
              <a:gd name="T5" fmla="*/ 1287 h 1800"/>
              <a:gd name="T6" fmla="*/ 2139 w 2163"/>
              <a:gd name="T7" fmla="*/ 1190 h 1800"/>
              <a:gd name="T8" fmla="*/ 2159 w 2163"/>
              <a:gd name="T9" fmla="*/ 1087 h 1800"/>
              <a:gd name="T10" fmla="*/ 2163 w 2163"/>
              <a:gd name="T11" fmla="*/ 978 h 1800"/>
              <a:gd name="T12" fmla="*/ 2150 w 2163"/>
              <a:gd name="T13" fmla="*/ 866 h 1800"/>
              <a:gd name="T14" fmla="*/ 2117 w 2163"/>
              <a:gd name="T15" fmla="*/ 752 h 1800"/>
              <a:gd name="T16" fmla="*/ 2060 w 2163"/>
              <a:gd name="T17" fmla="*/ 639 h 1800"/>
              <a:gd name="T18" fmla="*/ 1978 w 2163"/>
              <a:gd name="T19" fmla="*/ 529 h 1800"/>
              <a:gd name="T20" fmla="*/ 1865 w 2163"/>
              <a:gd name="T21" fmla="*/ 424 h 1800"/>
              <a:gd name="T22" fmla="*/ 1785 w 2163"/>
              <a:gd name="T23" fmla="*/ 366 h 1800"/>
              <a:gd name="T24" fmla="*/ 1678 w 2163"/>
              <a:gd name="T25" fmla="*/ 298 h 1800"/>
              <a:gd name="T26" fmla="*/ 1565 w 2163"/>
              <a:gd name="T27" fmla="*/ 239 h 1800"/>
              <a:gd name="T28" fmla="*/ 1452 w 2163"/>
              <a:gd name="T29" fmla="*/ 187 h 1800"/>
              <a:gd name="T30" fmla="*/ 1336 w 2163"/>
              <a:gd name="T31" fmla="*/ 144 h 1800"/>
              <a:gd name="T32" fmla="*/ 1143 w 2163"/>
              <a:gd name="T33" fmla="*/ 86 h 1800"/>
              <a:gd name="T34" fmla="*/ 916 w 2163"/>
              <a:gd name="T35" fmla="*/ 39 h 1800"/>
              <a:gd name="T36" fmla="*/ 699 w 2163"/>
              <a:gd name="T37" fmla="*/ 13 h 1800"/>
              <a:gd name="T38" fmla="*/ 499 w 2163"/>
              <a:gd name="T39" fmla="*/ 0 h 1800"/>
              <a:gd name="T40" fmla="*/ 324 w 2163"/>
              <a:gd name="T41" fmla="*/ 0 h 1800"/>
              <a:gd name="T42" fmla="*/ 105 w 2163"/>
              <a:gd name="T43" fmla="*/ 14 h 1800"/>
              <a:gd name="T44" fmla="*/ 0 w 2163"/>
              <a:gd name="T45" fmla="*/ 26 h 1800"/>
              <a:gd name="T46" fmla="*/ 40 w 2163"/>
              <a:gd name="T47" fmla="*/ 202 h 1800"/>
              <a:gd name="T48" fmla="*/ 97 w 2163"/>
              <a:gd name="T49" fmla="*/ 393 h 1800"/>
              <a:gd name="T50" fmla="*/ 158 w 2163"/>
              <a:gd name="T51" fmla="*/ 567 h 1800"/>
              <a:gd name="T52" fmla="*/ 240 w 2163"/>
              <a:gd name="T53" fmla="*/ 757 h 1800"/>
              <a:gd name="T54" fmla="*/ 342 w 2163"/>
              <a:gd name="T55" fmla="*/ 956 h 1800"/>
              <a:gd name="T56" fmla="*/ 467 w 2163"/>
              <a:gd name="T57" fmla="*/ 1157 h 1800"/>
              <a:gd name="T58" fmla="*/ 564 w 2163"/>
              <a:gd name="T59" fmla="*/ 1287 h 1800"/>
              <a:gd name="T60" fmla="*/ 645 w 2163"/>
              <a:gd name="T61" fmla="*/ 1380 h 1800"/>
              <a:gd name="T62" fmla="*/ 732 w 2163"/>
              <a:gd name="T63" fmla="*/ 1471 h 1800"/>
              <a:gd name="T64" fmla="*/ 826 w 2163"/>
              <a:gd name="T65" fmla="*/ 1556 h 1800"/>
              <a:gd name="T66" fmla="*/ 928 w 2163"/>
              <a:gd name="T67" fmla="*/ 1635 h 1800"/>
              <a:gd name="T68" fmla="*/ 1020 w 2163"/>
              <a:gd name="T69" fmla="*/ 1694 h 1800"/>
              <a:gd name="T70" fmla="*/ 1153 w 2163"/>
              <a:gd name="T71" fmla="*/ 1756 h 1800"/>
              <a:gd name="T72" fmla="*/ 1281 w 2163"/>
              <a:gd name="T73" fmla="*/ 1790 h 1800"/>
              <a:gd name="T74" fmla="*/ 1405 w 2163"/>
              <a:gd name="T75" fmla="*/ 1800 h 1800"/>
              <a:gd name="T76" fmla="*/ 1520 w 2163"/>
              <a:gd name="T77" fmla="*/ 1789 h 1800"/>
              <a:gd name="T78" fmla="*/ 1627 w 2163"/>
              <a:gd name="T79" fmla="*/ 1761 h 1800"/>
              <a:gd name="T80" fmla="*/ 1726 w 2163"/>
              <a:gd name="T81" fmla="*/ 1717 h 1800"/>
              <a:gd name="T82" fmla="*/ 1815 w 2163"/>
              <a:gd name="T83" fmla="*/ 1664 h 1800"/>
              <a:gd name="T84" fmla="*/ 1892 w 2163"/>
              <a:gd name="T85" fmla="*/ 1603 h 1800"/>
              <a:gd name="T86" fmla="*/ 1959 w 2163"/>
              <a:gd name="T87" fmla="*/ 1537 h 1800"/>
              <a:gd name="T88" fmla="*/ 2012 w 2163"/>
              <a:gd name="T89" fmla="*/ 1472 h 1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163" h="1800">
                <a:moveTo>
                  <a:pt x="2012" y="1472"/>
                </a:moveTo>
                <a:lnTo>
                  <a:pt x="2012" y="1472"/>
                </a:lnTo>
                <a:lnTo>
                  <a:pt x="2027" y="1450"/>
                </a:lnTo>
                <a:lnTo>
                  <a:pt x="2042" y="1426"/>
                </a:lnTo>
                <a:lnTo>
                  <a:pt x="2057" y="1400"/>
                </a:lnTo>
                <a:lnTo>
                  <a:pt x="2071" y="1374"/>
                </a:lnTo>
                <a:lnTo>
                  <a:pt x="2085" y="1346"/>
                </a:lnTo>
                <a:lnTo>
                  <a:pt x="2097" y="1317"/>
                </a:lnTo>
                <a:lnTo>
                  <a:pt x="2110" y="1287"/>
                </a:lnTo>
                <a:lnTo>
                  <a:pt x="2121" y="1256"/>
                </a:lnTo>
                <a:lnTo>
                  <a:pt x="2131" y="1224"/>
                </a:lnTo>
                <a:lnTo>
                  <a:pt x="2139" y="1190"/>
                </a:lnTo>
                <a:lnTo>
                  <a:pt x="2148" y="1157"/>
                </a:lnTo>
                <a:lnTo>
                  <a:pt x="2154" y="1122"/>
                </a:lnTo>
                <a:lnTo>
                  <a:pt x="2159" y="1087"/>
                </a:lnTo>
                <a:lnTo>
                  <a:pt x="2161" y="1051"/>
                </a:lnTo>
                <a:lnTo>
                  <a:pt x="2163" y="1015"/>
                </a:lnTo>
                <a:lnTo>
                  <a:pt x="2163" y="978"/>
                </a:lnTo>
                <a:lnTo>
                  <a:pt x="2160" y="941"/>
                </a:lnTo>
                <a:lnTo>
                  <a:pt x="2157" y="903"/>
                </a:lnTo>
                <a:lnTo>
                  <a:pt x="2150" y="866"/>
                </a:lnTo>
                <a:lnTo>
                  <a:pt x="2142" y="827"/>
                </a:lnTo>
                <a:lnTo>
                  <a:pt x="2131" y="789"/>
                </a:lnTo>
                <a:lnTo>
                  <a:pt x="2117" y="752"/>
                </a:lnTo>
                <a:lnTo>
                  <a:pt x="2101" y="714"/>
                </a:lnTo>
                <a:lnTo>
                  <a:pt x="2081" y="677"/>
                </a:lnTo>
                <a:lnTo>
                  <a:pt x="2060" y="639"/>
                </a:lnTo>
                <a:lnTo>
                  <a:pt x="2036" y="602"/>
                </a:lnTo>
                <a:lnTo>
                  <a:pt x="2008" y="566"/>
                </a:lnTo>
                <a:lnTo>
                  <a:pt x="1978" y="529"/>
                </a:lnTo>
                <a:lnTo>
                  <a:pt x="1943" y="493"/>
                </a:lnTo>
                <a:lnTo>
                  <a:pt x="1906" y="458"/>
                </a:lnTo>
                <a:lnTo>
                  <a:pt x="1865" y="424"/>
                </a:lnTo>
                <a:lnTo>
                  <a:pt x="1821" y="391"/>
                </a:lnTo>
                <a:lnTo>
                  <a:pt x="1821" y="391"/>
                </a:lnTo>
                <a:lnTo>
                  <a:pt x="1785" y="366"/>
                </a:lnTo>
                <a:lnTo>
                  <a:pt x="1749" y="342"/>
                </a:lnTo>
                <a:lnTo>
                  <a:pt x="1713" y="320"/>
                </a:lnTo>
                <a:lnTo>
                  <a:pt x="1678" y="298"/>
                </a:lnTo>
                <a:lnTo>
                  <a:pt x="1641" y="277"/>
                </a:lnTo>
                <a:lnTo>
                  <a:pt x="1602" y="257"/>
                </a:lnTo>
                <a:lnTo>
                  <a:pt x="1565" y="239"/>
                </a:lnTo>
                <a:lnTo>
                  <a:pt x="1528" y="220"/>
                </a:lnTo>
                <a:lnTo>
                  <a:pt x="1490" y="204"/>
                </a:lnTo>
                <a:lnTo>
                  <a:pt x="1452" y="187"/>
                </a:lnTo>
                <a:lnTo>
                  <a:pt x="1414" y="172"/>
                </a:lnTo>
                <a:lnTo>
                  <a:pt x="1375" y="157"/>
                </a:lnTo>
                <a:lnTo>
                  <a:pt x="1336" y="144"/>
                </a:lnTo>
                <a:lnTo>
                  <a:pt x="1298" y="130"/>
                </a:lnTo>
                <a:lnTo>
                  <a:pt x="1221" y="107"/>
                </a:lnTo>
                <a:lnTo>
                  <a:pt x="1143" y="86"/>
                </a:lnTo>
                <a:lnTo>
                  <a:pt x="1067" y="68"/>
                </a:lnTo>
                <a:lnTo>
                  <a:pt x="991" y="52"/>
                </a:lnTo>
                <a:lnTo>
                  <a:pt x="916" y="39"/>
                </a:lnTo>
                <a:lnTo>
                  <a:pt x="842" y="28"/>
                </a:lnTo>
                <a:lnTo>
                  <a:pt x="769" y="19"/>
                </a:lnTo>
                <a:lnTo>
                  <a:pt x="699" y="13"/>
                </a:lnTo>
                <a:lnTo>
                  <a:pt x="630" y="7"/>
                </a:lnTo>
                <a:lnTo>
                  <a:pt x="563" y="3"/>
                </a:lnTo>
                <a:lnTo>
                  <a:pt x="499" y="0"/>
                </a:lnTo>
                <a:lnTo>
                  <a:pt x="437" y="0"/>
                </a:lnTo>
                <a:lnTo>
                  <a:pt x="379" y="0"/>
                </a:lnTo>
                <a:lnTo>
                  <a:pt x="324" y="0"/>
                </a:lnTo>
                <a:lnTo>
                  <a:pt x="272" y="3"/>
                </a:lnTo>
                <a:lnTo>
                  <a:pt x="181" y="8"/>
                </a:lnTo>
                <a:lnTo>
                  <a:pt x="105" y="14"/>
                </a:lnTo>
                <a:lnTo>
                  <a:pt x="48" y="20"/>
                </a:lnTo>
                <a:lnTo>
                  <a:pt x="0" y="26"/>
                </a:lnTo>
                <a:lnTo>
                  <a:pt x="0" y="26"/>
                </a:lnTo>
                <a:lnTo>
                  <a:pt x="10" y="73"/>
                </a:lnTo>
                <a:lnTo>
                  <a:pt x="23" y="129"/>
                </a:lnTo>
                <a:lnTo>
                  <a:pt x="40" y="202"/>
                </a:lnTo>
                <a:lnTo>
                  <a:pt x="65" y="292"/>
                </a:lnTo>
                <a:lnTo>
                  <a:pt x="81" y="341"/>
                </a:lnTo>
                <a:lnTo>
                  <a:pt x="97" y="393"/>
                </a:lnTo>
                <a:lnTo>
                  <a:pt x="115" y="449"/>
                </a:lnTo>
                <a:lnTo>
                  <a:pt x="136" y="507"/>
                </a:lnTo>
                <a:lnTo>
                  <a:pt x="158" y="567"/>
                </a:lnTo>
                <a:lnTo>
                  <a:pt x="184" y="629"/>
                </a:lnTo>
                <a:lnTo>
                  <a:pt x="210" y="693"/>
                </a:lnTo>
                <a:lnTo>
                  <a:pt x="240" y="757"/>
                </a:lnTo>
                <a:lnTo>
                  <a:pt x="272" y="823"/>
                </a:lnTo>
                <a:lnTo>
                  <a:pt x="305" y="889"/>
                </a:lnTo>
                <a:lnTo>
                  <a:pt x="342" y="956"/>
                </a:lnTo>
                <a:lnTo>
                  <a:pt x="382" y="1024"/>
                </a:lnTo>
                <a:lnTo>
                  <a:pt x="422" y="1090"/>
                </a:lnTo>
                <a:lnTo>
                  <a:pt x="467" y="1157"/>
                </a:lnTo>
                <a:lnTo>
                  <a:pt x="515" y="1222"/>
                </a:lnTo>
                <a:lnTo>
                  <a:pt x="538" y="1255"/>
                </a:lnTo>
                <a:lnTo>
                  <a:pt x="564" y="1287"/>
                </a:lnTo>
                <a:lnTo>
                  <a:pt x="590" y="1319"/>
                </a:lnTo>
                <a:lnTo>
                  <a:pt x="617" y="1350"/>
                </a:lnTo>
                <a:lnTo>
                  <a:pt x="645" y="1380"/>
                </a:lnTo>
                <a:lnTo>
                  <a:pt x="673" y="1411"/>
                </a:lnTo>
                <a:lnTo>
                  <a:pt x="703" y="1441"/>
                </a:lnTo>
                <a:lnTo>
                  <a:pt x="732" y="1471"/>
                </a:lnTo>
                <a:lnTo>
                  <a:pt x="763" y="1500"/>
                </a:lnTo>
                <a:lnTo>
                  <a:pt x="794" y="1529"/>
                </a:lnTo>
                <a:lnTo>
                  <a:pt x="826" y="1556"/>
                </a:lnTo>
                <a:lnTo>
                  <a:pt x="859" y="1583"/>
                </a:lnTo>
                <a:lnTo>
                  <a:pt x="894" y="1609"/>
                </a:lnTo>
                <a:lnTo>
                  <a:pt x="928" y="1635"/>
                </a:lnTo>
                <a:lnTo>
                  <a:pt x="928" y="1635"/>
                </a:lnTo>
                <a:lnTo>
                  <a:pt x="974" y="1666"/>
                </a:lnTo>
                <a:lnTo>
                  <a:pt x="1020" y="1694"/>
                </a:lnTo>
                <a:lnTo>
                  <a:pt x="1064" y="1717"/>
                </a:lnTo>
                <a:lnTo>
                  <a:pt x="1109" y="1738"/>
                </a:lnTo>
                <a:lnTo>
                  <a:pt x="1153" y="1756"/>
                </a:lnTo>
                <a:lnTo>
                  <a:pt x="1196" y="1770"/>
                </a:lnTo>
                <a:lnTo>
                  <a:pt x="1240" y="1782"/>
                </a:lnTo>
                <a:lnTo>
                  <a:pt x="1281" y="1790"/>
                </a:lnTo>
                <a:lnTo>
                  <a:pt x="1323" y="1796"/>
                </a:lnTo>
                <a:lnTo>
                  <a:pt x="1364" y="1800"/>
                </a:lnTo>
                <a:lnTo>
                  <a:pt x="1405" y="1800"/>
                </a:lnTo>
                <a:lnTo>
                  <a:pt x="1444" y="1799"/>
                </a:lnTo>
                <a:lnTo>
                  <a:pt x="1483" y="1795"/>
                </a:lnTo>
                <a:lnTo>
                  <a:pt x="1520" y="1789"/>
                </a:lnTo>
                <a:lnTo>
                  <a:pt x="1557" y="1782"/>
                </a:lnTo>
                <a:lnTo>
                  <a:pt x="1593" y="1772"/>
                </a:lnTo>
                <a:lnTo>
                  <a:pt x="1627" y="1761"/>
                </a:lnTo>
                <a:lnTo>
                  <a:pt x="1662" y="1748"/>
                </a:lnTo>
                <a:lnTo>
                  <a:pt x="1695" y="1733"/>
                </a:lnTo>
                <a:lnTo>
                  <a:pt x="1726" y="1717"/>
                </a:lnTo>
                <a:lnTo>
                  <a:pt x="1757" y="1701"/>
                </a:lnTo>
                <a:lnTo>
                  <a:pt x="1786" y="1683"/>
                </a:lnTo>
                <a:lnTo>
                  <a:pt x="1815" y="1664"/>
                </a:lnTo>
                <a:lnTo>
                  <a:pt x="1842" y="1645"/>
                </a:lnTo>
                <a:lnTo>
                  <a:pt x="1868" y="1624"/>
                </a:lnTo>
                <a:lnTo>
                  <a:pt x="1892" y="1603"/>
                </a:lnTo>
                <a:lnTo>
                  <a:pt x="1916" y="1582"/>
                </a:lnTo>
                <a:lnTo>
                  <a:pt x="1938" y="1559"/>
                </a:lnTo>
                <a:lnTo>
                  <a:pt x="1959" y="1537"/>
                </a:lnTo>
                <a:lnTo>
                  <a:pt x="1978" y="1516"/>
                </a:lnTo>
                <a:lnTo>
                  <a:pt x="1996" y="1494"/>
                </a:lnTo>
                <a:lnTo>
                  <a:pt x="2012" y="1472"/>
                </a:lnTo>
                <a:lnTo>
                  <a:pt x="2012" y="1472"/>
                </a:lnTo>
                <a:close/>
              </a:path>
            </a:pathLst>
          </a:custGeom>
          <a:noFill/>
          <a:ln w="19050">
            <a:solidFill>
              <a:schemeClr val="accent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1395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52449" y="337344"/>
            <a:ext cx="10839451" cy="6723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96627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ic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21"/>
          <a:stretch/>
        </p:blipFill>
        <p:spPr>
          <a:xfrm flipH="1">
            <a:off x="0" y="0"/>
            <a:ext cx="12192000" cy="7484165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12192000" cy="7484165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52449" y="337344"/>
            <a:ext cx="10839451" cy="6723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85801" y="1144588"/>
            <a:ext cx="10839451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774"/>
          <a:stretch/>
        </p:blipFill>
        <p:spPr>
          <a:xfrm>
            <a:off x="10649441" y="207970"/>
            <a:ext cx="882955" cy="783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320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1393" y="2782957"/>
            <a:ext cx="7006259" cy="361784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52449" y="337344"/>
            <a:ext cx="10839451" cy="672306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0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658813" y="2782963"/>
            <a:ext cx="3833675" cy="3617841"/>
          </a:xfrm>
        </p:spPr>
        <p:txBody>
          <a:bodyPr/>
          <a:lstStyle/>
          <a:p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52454" y="2135244"/>
            <a:ext cx="11125199" cy="457200"/>
          </a:xfrm>
        </p:spPr>
        <p:txBody>
          <a:bodyPr anchor="b" anchorCtr="0">
            <a:normAutofit/>
          </a:bodyPr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9708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2453" y="2305882"/>
            <a:ext cx="5467351" cy="38710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2305882"/>
            <a:ext cx="5505451" cy="387108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8371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7053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47705649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" name="think-cell Slide" r:id="rId17" imgW="216" imgH="216" progId="TCLayout.ActiveDocument.1">
                  <p:embed/>
                </p:oleObj>
              </mc:Choice>
              <mc:Fallback>
                <p:oleObj name="think-cell Slide" r:id="rId1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2451" y="1144594"/>
            <a:ext cx="11125200" cy="936623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2451" y="2247902"/>
            <a:ext cx="11125200" cy="41528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85801" y="1144588"/>
            <a:ext cx="10839451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774"/>
          <a:stretch/>
        </p:blipFill>
        <p:spPr>
          <a:xfrm>
            <a:off x="10649441" y="207970"/>
            <a:ext cx="882955" cy="783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997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0" r:id="rId3"/>
    <p:sldLayoutId id="2147483674" r:id="rId4"/>
    <p:sldLayoutId id="2147483672" r:id="rId5"/>
    <p:sldLayoutId id="2147483670" r:id="rId6"/>
    <p:sldLayoutId id="2147483657" r:id="rId7"/>
    <p:sldLayoutId id="2147483652" r:id="rId8"/>
    <p:sldLayoutId id="2147483654" r:id="rId9"/>
    <p:sldLayoutId id="2147483655" r:id="rId10"/>
    <p:sldLayoutId id="2147483658" r:id="rId11"/>
    <p:sldLayoutId id="2147483659" r:id="rId12"/>
    <p:sldLayoutId id="2147483676" r:id="rId13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-268288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8288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150" indent="-268288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341438" indent="-268288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415" userDrawn="1">
          <p15:clr>
            <a:srgbClr val="F26B43"/>
          </p15:clr>
        </p15:guide>
        <p15:guide id="4" pos="7260" userDrawn="1">
          <p15:clr>
            <a:srgbClr val="F26B43"/>
          </p15:clr>
        </p15:guide>
        <p15:guide id="5" orient="horz" pos="564" userDrawn="1">
          <p15:clr>
            <a:srgbClr val="F26B43"/>
          </p15:clr>
        </p15:guide>
        <p15:guide id="6" orient="horz" pos="118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2451" y="1116886"/>
            <a:ext cx="11125200" cy="936623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2451" y="2247902"/>
            <a:ext cx="11125200" cy="41528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85801" y="1144588"/>
            <a:ext cx="10839451" cy="0"/>
          </a:xfrm>
          <a:prstGeom prst="line">
            <a:avLst/>
          </a:prstGeom>
          <a:ln w="571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5920"/>
          <a:stretch/>
        </p:blipFill>
        <p:spPr>
          <a:xfrm>
            <a:off x="10644679" y="207970"/>
            <a:ext cx="880575" cy="783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998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75" r:id="rId4"/>
    <p:sldLayoutId id="2147483673" r:id="rId5"/>
    <p:sldLayoutId id="2147483671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69" r:id="rId12"/>
  </p:sldLayoutIdLst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536575" indent="-268288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‒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804863" indent="-268288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‒"/>
        <a:defRPr sz="1800" kern="1200">
          <a:solidFill>
            <a:schemeClr val="bg1"/>
          </a:solidFill>
          <a:latin typeface="+mn-lt"/>
          <a:ea typeface="+mn-ea"/>
          <a:cs typeface="+mn-cs"/>
        </a:defRPr>
      </a:lvl3pPr>
      <a:lvl4pPr marL="1073150" indent="-268288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341438" indent="-268288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15">
          <p15:clr>
            <a:srgbClr val="F26B43"/>
          </p15:clr>
        </p15:guide>
        <p15:guide id="4" pos="7260">
          <p15:clr>
            <a:srgbClr val="F26B43"/>
          </p15:clr>
        </p15:guide>
        <p15:guide id="5" orient="horz" pos="550" userDrawn="1">
          <p15:clr>
            <a:srgbClr val="F26B43"/>
          </p15:clr>
        </p15:guide>
        <p15:guide id="6" orient="horz" pos="11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image" Target="../media/image16.png"/><Relationship Id="rId7" Type="http://schemas.openxmlformats.org/officeDocument/2006/relationships/diagramData" Target="../diagrams/data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9.png"/><Relationship Id="rId11" Type="http://schemas.microsoft.com/office/2007/relationships/diagramDrawing" Target="../diagrams/drawing2.xml"/><Relationship Id="rId5" Type="http://schemas.openxmlformats.org/officeDocument/2006/relationships/image" Target="../media/image18.jpeg"/><Relationship Id="rId10" Type="http://schemas.openxmlformats.org/officeDocument/2006/relationships/diagramColors" Target="../diagrams/colors2.xml"/><Relationship Id="rId4" Type="http://schemas.openxmlformats.org/officeDocument/2006/relationships/image" Target="../media/image17.png"/><Relationship Id="rId9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hyperlink" Target="New_Purpose_PL_HD.mp4" TargetMode="Externa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3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5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606746" y="1083054"/>
            <a:ext cx="5104867" cy="1508124"/>
          </a:xfrm>
        </p:spPr>
        <p:txBody>
          <a:bodyPr/>
          <a:lstStyle/>
          <a:p>
            <a:r>
              <a:rPr lang="pl-PL" dirty="0" err="1" smtClean="0"/>
              <a:t>Youth</a:t>
            </a:r>
            <a:r>
              <a:rPr lang="pl-PL" dirty="0" smtClean="0"/>
              <a:t> </a:t>
            </a:r>
            <a:r>
              <a:rPr lang="pl-PL" dirty="0" err="1" smtClean="0"/>
              <a:t>Employment</a:t>
            </a:r>
            <a:r>
              <a:rPr lang="pl-PL" dirty="0" smtClean="0"/>
              <a:t> and Training </a:t>
            </a:r>
            <a:r>
              <a:rPr lang="pl-PL" dirty="0" err="1" smtClean="0"/>
              <a:t>Initiative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dirty="0" smtClean="0"/>
              <a:t>edycja 2017</a:t>
            </a:r>
            <a:endParaRPr lang="pl-PL" dirty="0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l-PL" i="1" dirty="0" smtClean="0"/>
              <a:t>Spotkanie ze studentami </a:t>
            </a:r>
          </a:p>
        </p:txBody>
      </p:sp>
    </p:spTree>
    <p:extLst>
      <p:ext uri="{BB962C8B-B14F-4D97-AF65-F5344CB8AC3E}">
        <p14:creationId xmlns:p14="http://schemas.microsoft.com/office/powerpoint/2010/main" val="44147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ytuł 7"/>
          <p:cNvSpPr>
            <a:spLocks noGrp="1"/>
          </p:cNvSpPr>
          <p:nvPr>
            <p:ph type="ctrTitle"/>
          </p:nvPr>
        </p:nvSpPr>
        <p:spPr>
          <a:xfrm>
            <a:off x="6969886" y="1593669"/>
            <a:ext cx="4793975" cy="2068666"/>
          </a:xfrm>
        </p:spPr>
        <p:txBody>
          <a:bodyPr/>
          <a:lstStyle/>
          <a:p>
            <a:r>
              <a:rPr lang="pl-PL" dirty="0" smtClean="0"/>
              <a:t>Podstawowe informacje o Firmie Cereal Partners Poland Toruń-Pacific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80612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56954" y="109194"/>
            <a:ext cx="11125200" cy="936623"/>
          </a:xfrm>
        </p:spPr>
        <p:txBody>
          <a:bodyPr/>
          <a:lstStyle/>
          <a:p>
            <a:r>
              <a:rPr lang="pl-PL" dirty="0" smtClean="0"/>
              <a:t>Cereal Partners Poland Toruń-Pacific</a:t>
            </a:r>
            <a:endParaRPr lang="pl-PL" dirty="0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10"/>
          </p:nvPr>
        </p:nvSpPr>
        <p:spPr>
          <a:xfrm>
            <a:off x="6292727" y="1371735"/>
            <a:ext cx="2117125" cy="451814"/>
          </a:xfrm>
        </p:spPr>
        <p:txBody>
          <a:bodyPr>
            <a:normAutofit fontScale="92500" lnSpcReduction="10000"/>
          </a:bodyPr>
          <a:lstStyle/>
          <a:p>
            <a:r>
              <a:rPr lang="pl-PL" sz="2800" dirty="0" smtClean="0"/>
              <a:t>Udziałowcy</a:t>
            </a:r>
            <a:r>
              <a:rPr lang="pl-PL" dirty="0" smtClean="0"/>
              <a:t> </a:t>
            </a:r>
            <a:endParaRPr lang="pl-PL" dirty="0"/>
          </a:p>
        </p:txBody>
      </p:sp>
      <p:pic>
        <p:nvPicPr>
          <p:cNvPr id="4" name="Symbol zastępczy zawartości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998309" y="2256772"/>
            <a:ext cx="4524197" cy="2966015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53"/>
          <a:stretch/>
        </p:blipFill>
        <p:spPr bwMode="auto">
          <a:xfrm>
            <a:off x="9275804" y="1316185"/>
            <a:ext cx="2559667" cy="1661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0025" y="3136287"/>
            <a:ext cx="2731226" cy="16241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5805" y="4918653"/>
            <a:ext cx="2645446" cy="147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91473630"/>
              </p:ext>
            </p:extLst>
          </p:nvPr>
        </p:nvGraphicFramePr>
        <p:xfrm>
          <a:off x="160430" y="1827317"/>
          <a:ext cx="4724608" cy="4845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0" name="Symbol zastępczy tekstu 4"/>
          <p:cNvSpPr txBox="1">
            <a:spLocks/>
          </p:cNvSpPr>
          <p:nvPr/>
        </p:nvSpPr>
        <p:spPr>
          <a:xfrm>
            <a:off x="1186249" y="1155011"/>
            <a:ext cx="3157051" cy="67230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6575" indent="-2682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82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3150" indent="-2682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1438" indent="-2682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l-PL" sz="2800" dirty="0" smtClean="0"/>
              <a:t>Historia</a:t>
            </a:r>
            <a:r>
              <a:rPr lang="pl-PL" dirty="0" smtClean="0"/>
              <a:t> 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18053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934113" y="1511422"/>
            <a:ext cx="4793975" cy="1508124"/>
          </a:xfrm>
        </p:spPr>
        <p:txBody>
          <a:bodyPr/>
          <a:lstStyle/>
          <a:p>
            <a:r>
              <a:rPr lang="pl-PL" sz="3200" smtClean="0"/>
              <a:t>Dziękujemy </a:t>
            </a:r>
            <a:r>
              <a:rPr lang="pl-PL" sz="3200" dirty="0" smtClean="0"/>
              <a:t>za uwagę!</a:t>
            </a:r>
            <a:r>
              <a:rPr lang="pl-PL" sz="3200" dirty="0"/>
              <a:t> </a:t>
            </a:r>
            <a:r>
              <a:rPr lang="pl-PL" sz="3200" dirty="0" smtClean="0"/>
              <a:t/>
            </a:r>
            <a:br>
              <a:rPr lang="pl-PL" sz="3200" dirty="0" smtClean="0"/>
            </a:br>
            <a:r>
              <a:rPr lang="pl-PL" sz="3200" dirty="0" smtClean="0"/>
              <a:t>Do </a:t>
            </a:r>
            <a:r>
              <a:rPr lang="pl-PL" sz="3200" dirty="0"/>
              <a:t>zobaczenia na warsztatach!</a:t>
            </a:r>
            <a:br>
              <a:rPr lang="pl-PL" sz="3200" dirty="0"/>
            </a:br>
            <a:endParaRPr lang="pl-PL" sz="3200" dirty="0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5791200" y="3421210"/>
            <a:ext cx="6400800" cy="1752600"/>
          </a:xfrm>
        </p:spPr>
        <p:txBody>
          <a:bodyPr>
            <a:normAutofit/>
          </a:bodyPr>
          <a:lstStyle/>
          <a:p>
            <a:pPr algn="r"/>
            <a:r>
              <a:rPr lang="pl-PL" sz="1800" b="1" dirty="0" smtClean="0"/>
              <a:t>Osoba kontaktowa z CPP – Karolina Goljat</a:t>
            </a:r>
          </a:p>
          <a:p>
            <a:pPr algn="r"/>
            <a:r>
              <a:rPr lang="pl-PL" sz="1800" b="1" dirty="0" smtClean="0"/>
              <a:t>Tel. 56 61 04 412</a:t>
            </a:r>
          </a:p>
          <a:p>
            <a:pPr algn="r"/>
            <a:r>
              <a:rPr lang="pl-PL" sz="1800" b="1" dirty="0" smtClean="0"/>
              <a:t>Mail: karolina.goljat@cppl.nestle.com</a:t>
            </a:r>
            <a:endParaRPr lang="pl-PL" sz="1800" b="1" dirty="0"/>
          </a:p>
        </p:txBody>
      </p:sp>
      <p:pic>
        <p:nvPicPr>
          <p:cNvPr id="63" name="Obraz 6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717" y="332166"/>
            <a:ext cx="3038475" cy="1504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834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C:\Users\plszczepja\Desktop\Logotypy_produkty\ekran_0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4693" y="0"/>
            <a:ext cx="12411368" cy="6981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8697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>
            <a:hlinkClick r:id="rId2" action="ppaction://hlinkfile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84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ytuł 7"/>
          <p:cNvSpPr>
            <a:spLocks noGrp="1"/>
          </p:cNvSpPr>
          <p:nvPr>
            <p:ph type="ctrTitle"/>
          </p:nvPr>
        </p:nvSpPr>
        <p:spPr>
          <a:xfrm>
            <a:off x="6969886" y="1593669"/>
            <a:ext cx="4793975" cy="2068666"/>
          </a:xfrm>
        </p:spPr>
        <p:txBody>
          <a:bodyPr/>
          <a:lstStyle/>
          <a:p>
            <a:r>
              <a:rPr lang="pl-PL" dirty="0" smtClean="0"/>
              <a:t>Idea i cele</a:t>
            </a:r>
            <a:br>
              <a:rPr lang="pl-PL" dirty="0" smtClean="0"/>
            </a:br>
            <a:r>
              <a:rPr lang="pl-PL" dirty="0" smtClean="0"/>
              <a:t>warsztatów </a:t>
            </a:r>
            <a:br>
              <a:rPr lang="pl-PL" dirty="0" smtClean="0"/>
            </a:br>
            <a:r>
              <a:rPr lang="pl-PL" dirty="0" smtClean="0"/>
              <a:t>YES 4 YETI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526869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 dirty="0"/>
          </a:p>
        </p:txBody>
      </p:sp>
      <p:pic>
        <p:nvPicPr>
          <p:cNvPr id="5" name="Obraz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9548" y="0"/>
            <a:ext cx="11001056" cy="6858000"/>
          </a:xfrm>
          <a:prstGeom prst="rect">
            <a:avLst/>
          </a:prstGeom>
        </p:spPr>
      </p:pic>
      <p:grpSp>
        <p:nvGrpSpPr>
          <p:cNvPr id="11" name="Grupa 10"/>
          <p:cNvGrpSpPr/>
          <p:nvPr/>
        </p:nvGrpSpPr>
        <p:grpSpPr>
          <a:xfrm>
            <a:off x="-57665" y="790491"/>
            <a:ext cx="3510451" cy="3498520"/>
            <a:chOff x="65902" y="790491"/>
            <a:chExt cx="3510451" cy="3498520"/>
          </a:xfrm>
        </p:grpSpPr>
        <p:sp>
          <p:nvSpPr>
            <p:cNvPr id="2" name="pole tekstowe 1"/>
            <p:cNvSpPr txBox="1"/>
            <p:nvPr/>
          </p:nvSpPr>
          <p:spPr>
            <a:xfrm>
              <a:off x="65902" y="790491"/>
              <a:ext cx="1309951" cy="231457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en-US" dirty="0"/>
            </a:p>
          </p:txBody>
        </p:sp>
        <p:pic>
          <p:nvPicPr>
            <p:cNvPr id="8" name="Obraz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59399" y="2247903"/>
              <a:ext cx="2116954" cy="2041108"/>
            </a:xfrm>
            <a:prstGeom prst="rect">
              <a:avLst/>
            </a:prstGeom>
          </p:spPr>
        </p:pic>
      </p:grpSp>
      <p:sp>
        <p:nvSpPr>
          <p:cNvPr id="9" name="pole tekstowe 8"/>
          <p:cNvSpPr txBox="1"/>
          <p:nvPr/>
        </p:nvSpPr>
        <p:spPr>
          <a:xfrm>
            <a:off x="3576352" y="2183027"/>
            <a:ext cx="2214847" cy="2105984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4" name="Obraz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19867" y="2431009"/>
            <a:ext cx="3576643" cy="1171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69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004990153"/>
              </p:ext>
            </p:extLst>
          </p:nvPr>
        </p:nvGraphicFramePr>
        <p:xfrm>
          <a:off x="519775" y="1480811"/>
          <a:ext cx="8712968" cy="46085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04309" y="196879"/>
            <a:ext cx="8343900" cy="936623"/>
          </a:xfrm>
        </p:spPr>
        <p:txBody>
          <a:bodyPr/>
          <a:lstStyle/>
          <a:p>
            <a:r>
              <a:rPr lang="pl-PL" dirty="0" smtClean="0"/>
              <a:t>Cele warsztatów</a:t>
            </a:r>
            <a:endParaRPr lang="pl-PL" dirty="0"/>
          </a:p>
        </p:txBody>
      </p:sp>
      <p:pic>
        <p:nvPicPr>
          <p:cNvPr id="4" name="Picture 2" descr="YETI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5919" y="2264889"/>
            <a:ext cx="2876421" cy="2762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98187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83080" y="204064"/>
            <a:ext cx="11125200" cy="936623"/>
          </a:xfrm>
        </p:spPr>
        <p:txBody>
          <a:bodyPr>
            <a:normAutofit/>
          </a:bodyPr>
          <a:lstStyle/>
          <a:p>
            <a:r>
              <a:rPr lang="pl-PL" dirty="0" smtClean="0"/>
              <a:t>Przykładowy Harmonogram YES 4 YETI</a:t>
            </a:r>
            <a:endParaRPr lang="pl-PL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idx="1"/>
          </p:nvPr>
        </p:nvSpPr>
        <p:spPr>
          <a:xfrm>
            <a:off x="552451" y="1602378"/>
            <a:ext cx="7166403" cy="4798424"/>
          </a:xfrm>
        </p:spPr>
        <p:txBody>
          <a:bodyPr>
            <a:normAutofit fontScale="85000" lnSpcReduction="10000"/>
          </a:bodyPr>
          <a:lstStyle/>
          <a:p>
            <a:pPr algn="just">
              <a:lnSpc>
                <a:spcPct val="120000"/>
              </a:lnSpc>
              <a:buClr>
                <a:srgbClr val="003B4B"/>
              </a:buClr>
              <a:buFont typeface="Wingdings" panose="05000000000000000000" pitchFamily="2" charset="2"/>
              <a:buChar char="Ø"/>
            </a:pPr>
            <a:r>
              <a:rPr lang="pl-PL" sz="2000" b="1" dirty="0">
                <a:solidFill>
                  <a:srgbClr val="003B4B"/>
                </a:solidFill>
              </a:rPr>
              <a:t>STYCZEŃ 2017 </a:t>
            </a:r>
            <a:r>
              <a:rPr lang="pl-PL" sz="2000" dirty="0">
                <a:solidFill>
                  <a:srgbClr val="003B4B"/>
                </a:solidFill>
              </a:rPr>
              <a:t>– rozpoczęcie </a:t>
            </a:r>
            <a:r>
              <a:rPr lang="pl-PL" sz="2000" dirty="0" smtClean="0">
                <a:solidFill>
                  <a:srgbClr val="003B4B"/>
                </a:solidFill>
              </a:rPr>
              <a:t>kolejnej edycji </a:t>
            </a:r>
            <a:r>
              <a:rPr lang="pl-PL" sz="2000" dirty="0">
                <a:solidFill>
                  <a:srgbClr val="003B4B"/>
                </a:solidFill>
              </a:rPr>
              <a:t>inicjatywy „YES 4 YETI”</a:t>
            </a:r>
          </a:p>
          <a:p>
            <a:pPr algn="just">
              <a:lnSpc>
                <a:spcPct val="120000"/>
              </a:lnSpc>
              <a:buClr>
                <a:srgbClr val="003B4B"/>
              </a:buClr>
              <a:buFont typeface="Wingdings" panose="05000000000000000000" pitchFamily="2" charset="2"/>
              <a:buChar char="Ø"/>
            </a:pPr>
            <a:r>
              <a:rPr lang="pl-PL" sz="2000" b="1" dirty="0">
                <a:solidFill>
                  <a:srgbClr val="003B4B"/>
                </a:solidFill>
              </a:rPr>
              <a:t>LUTY 2017 </a:t>
            </a:r>
            <a:r>
              <a:rPr lang="pl-PL" sz="2000" dirty="0">
                <a:solidFill>
                  <a:srgbClr val="003B4B"/>
                </a:solidFill>
              </a:rPr>
              <a:t>- rekrutacja studentów prowadzona przez uczelnię</a:t>
            </a:r>
          </a:p>
          <a:p>
            <a:pPr algn="just">
              <a:lnSpc>
                <a:spcPct val="120000"/>
              </a:lnSpc>
              <a:buClr>
                <a:srgbClr val="003B4B"/>
              </a:buClr>
              <a:buFont typeface="Wingdings" panose="05000000000000000000" pitchFamily="2" charset="2"/>
              <a:buChar char="Ø"/>
            </a:pPr>
            <a:r>
              <a:rPr lang="pl-PL" sz="2000" b="1" dirty="0">
                <a:solidFill>
                  <a:srgbClr val="003B4B"/>
                </a:solidFill>
              </a:rPr>
              <a:t>28 LUTY 2017 </a:t>
            </a:r>
            <a:r>
              <a:rPr lang="pl-PL" sz="2000" dirty="0">
                <a:solidFill>
                  <a:srgbClr val="003B4B"/>
                </a:solidFill>
              </a:rPr>
              <a:t>- ogłoszenie listy uczestników projektu</a:t>
            </a:r>
          </a:p>
          <a:p>
            <a:pPr algn="just">
              <a:lnSpc>
                <a:spcPct val="120000"/>
              </a:lnSpc>
              <a:buClr>
                <a:srgbClr val="003B4B"/>
              </a:buClr>
              <a:buFont typeface="Wingdings" panose="05000000000000000000" pitchFamily="2" charset="2"/>
              <a:buChar char="Ø"/>
            </a:pPr>
            <a:r>
              <a:rPr lang="pl-PL" sz="2000" b="1" dirty="0">
                <a:solidFill>
                  <a:srgbClr val="003B4B"/>
                </a:solidFill>
              </a:rPr>
              <a:t>MARZEC – KWIECIEŃ 2017 </a:t>
            </a:r>
            <a:r>
              <a:rPr lang="pl-PL" sz="2000" dirty="0">
                <a:solidFill>
                  <a:srgbClr val="003B4B"/>
                </a:solidFill>
              </a:rPr>
              <a:t>- przeprowadzenie cyklu warsztatów dla studentów UMK w siedzibie CPP Toruń-Pacific</a:t>
            </a:r>
          </a:p>
          <a:p>
            <a:pPr lvl="0" algn="just">
              <a:lnSpc>
                <a:spcPct val="120000"/>
              </a:lnSpc>
              <a:buClr>
                <a:srgbClr val="003B4B"/>
              </a:buClr>
              <a:buFont typeface="Wingdings" panose="05000000000000000000" pitchFamily="2" charset="2"/>
              <a:buChar char="Ø"/>
            </a:pPr>
            <a:r>
              <a:rPr lang="pl-PL" sz="2000" b="1" dirty="0">
                <a:solidFill>
                  <a:srgbClr val="003B4B"/>
                </a:solidFill>
              </a:rPr>
              <a:t>POŁOWA KWIETNIA 2017 </a:t>
            </a:r>
            <a:r>
              <a:rPr lang="pl-PL" sz="2000" dirty="0">
                <a:solidFill>
                  <a:srgbClr val="003B4B"/>
                </a:solidFill>
              </a:rPr>
              <a:t>- ostateczny termin na zbieranie projektów przygotowanych przez studentów</a:t>
            </a:r>
          </a:p>
          <a:p>
            <a:pPr lvl="0" algn="just">
              <a:lnSpc>
                <a:spcPct val="120000"/>
              </a:lnSpc>
              <a:buClr>
                <a:srgbClr val="003B4B"/>
              </a:buClr>
              <a:buFont typeface="Wingdings" panose="05000000000000000000" pitchFamily="2" charset="2"/>
              <a:buChar char="Ø"/>
            </a:pPr>
            <a:r>
              <a:rPr lang="pl-PL" sz="2000" b="1" dirty="0">
                <a:solidFill>
                  <a:srgbClr val="003B4B"/>
                </a:solidFill>
              </a:rPr>
              <a:t>DO KOŃCA KWIETNIA 2017 </a:t>
            </a:r>
            <a:r>
              <a:rPr lang="pl-PL" sz="2000" dirty="0">
                <a:solidFill>
                  <a:srgbClr val="003B4B"/>
                </a:solidFill>
              </a:rPr>
              <a:t>– ocena projektów przez komitet sterujący i wybór najciekawszych projektów</a:t>
            </a:r>
          </a:p>
          <a:p>
            <a:pPr algn="just">
              <a:lnSpc>
                <a:spcPct val="120000"/>
              </a:lnSpc>
              <a:buClr>
                <a:srgbClr val="003B4B"/>
              </a:buClr>
              <a:buFont typeface="Wingdings" panose="05000000000000000000" pitchFamily="2" charset="2"/>
              <a:buChar char="Ø"/>
            </a:pPr>
            <a:r>
              <a:rPr lang="pl-PL" sz="2000" b="1" dirty="0">
                <a:solidFill>
                  <a:srgbClr val="003B4B"/>
                </a:solidFill>
              </a:rPr>
              <a:t>MAJ 2017 </a:t>
            </a:r>
            <a:r>
              <a:rPr lang="pl-PL" sz="2000" dirty="0">
                <a:solidFill>
                  <a:srgbClr val="003B4B"/>
                </a:solidFill>
              </a:rPr>
              <a:t>- uroczyste zakończenie projektu wraz z rozdaniem certyfikatów dla uczestników oraz ogłoszeniem zwycięzców na najciekawsze projekty</a:t>
            </a:r>
          </a:p>
          <a:p>
            <a:pPr algn="just">
              <a:lnSpc>
                <a:spcPct val="120000"/>
              </a:lnSpc>
              <a:buClr>
                <a:srgbClr val="003B4B"/>
              </a:buClr>
              <a:buFont typeface="Wingdings" panose="05000000000000000000" pitchFamily="2" charset="2"/>
              <a:buChar char="Ø"/>
            </a:pPr>
            <a:r>
              <a:rPr lang="pl-PL" sz="2000" b="1" dirty="0">
                <a:solidFill>
                  <a:srgbClr val="003B4B"/>
                </a:solidFill>
              </a:rPr>
              <a:t>LIPIEC – WRZESIEŃ 2017 </a:t>
            </a:r>
            <a:r>
              <a:rPr lang="pl-PL" sz="2000" dirty="0">
                <a:solidFill>
                  <a:srgbClr val="003B4B"/>
                </a:solidFill>
              </a:rPr>
              <a:t>- udział wybranych studentów w letnich praktykach w CPP Toruń-Pacific</a:t>
            </a:r>
          </a:p>
          <a:p>
            <a:pPr>
              <a:buClr>
                <a:srgbClr val="003B4B"/>
              </a:buClr>
              <a:buFont typeface="Wingdings" panose="05000000000000000000" pitchFamily="2" charset="2"/>
              <a:buChar char="Ø"/>
            </a:pPr>
            <a:endParaRPr lang="pl-PL" sz="1800" dirty="0"/>
          </a:p>
        </p:txBody>
      </p:sp>
      <p:grpSp>
        <p:nvGrpSpPr>
          <p:cNvPr id="9" name="Grupa 8"/>
          <p:cNvGrpSpPr/>
          <p:nvPr/>
        </p:nvGrpSpPr>
        <p:grpSpPr>
          <a:xfrm>
            <a:off x="8005398" y="1283306"/>
            <a:ext cx="3171882" cy="5574694"/>
            <a:chOff x="7795673" y="1235343"/>
            <a:chExt cx="3171882" cy="5574694"/>
          </a:xfrm>
        </p:grpSpPr>
        <p:pic>
          <p:nvPicPr>
            <p:cNvPr id="3" name="Obraz 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00619" y="1235343"/>
              <a:ext cx="1927358" cy="2056567"/>
            </a:xfrm>
            <a:prstGeom prst="rect">
              <a:avLst/>
            </a:prstGeom>
          </p:spPr>
        </p:pic>
        <p:pic>
          <p:nvPicPr>
            <p:cNvPr id="6" name="Obraz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795673" y="3132375"/>
              <a:ext cx="1811920" cy="1685336"/>
            </a:xfrm>
            <a:prstGeom prst="rect">
              <a:avLst/>
            </a:prstGeom>
          </p:spPr>
        </p:pic>
        <p:pic>
          <p:nvPicPr>
            <p:cNvPr id="8" name="Obraz 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912121" y="4837343"/>
              <a:ext cx="2055434" cy="19726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6067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ytuł 7"/>
          <p:cNvSpPr>
            <a:spLocks noGrp="1"/>
          </p:cNvSpPr>
          <p:nvPr>
            <p:ph type="ctrTitle"/>
          </p:nvPr>
        </p:nvSpPr>
        <p:spPr>
          <a:xfrm>
            <a:off x="6969886" y="1593669"/>
            <a:ext cx="4793975" cy="2068666"/>
          </a:xfrm>
        </p:spPr>
        <p:txBody>
          <a:bodyPr/>
          <a:lstStyle/>
          <a:p>
            <a:r>
              <a:rPr lang="pl-PL" dirty="0" smtClean="0"/>
              <a:t>Informacje szczegółowe </a:t>
            </a:r>
            <a:br>
              <a:rPr lang="pl-PL" dirty="0" smtClean="0"/>
            </a:br>
            <a:r>
              <a:rPr lang="pl-PL" dirty="0" smtClean="0"/>
              <a:t>na temat warsztatów 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412230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1812324" y="112717"/>
            <a:ext cx="9312876" cy="936623"/>
          </a:xfrm>
        </p:spPr>
        <p:txBody>
          <a:bodyPr/>
          <a:lstStyle/>
          <a:p>
            <a:r>
              <a:rPr lang="pl-PL" dirty="0" smtClean="0"/>
              <a:t>Tematyka warsztatów</a:t>
            </a:r>
            <a:endParaRPr lang="pl-PL" dirty="0"/>
          </a:p>
        </p:txBody>
      </p:sp>
      <p:pic>
        <p:nvPicPr>
          <p:cNvPr id="8194" name="Picture 2" descr="YETI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3957" y="3904218"/>
            <a:ext cx="2876421" cy="2762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Prostokąt 6"/>
          <p:cNvSpPr/>
          <p:nvPr/>
        </p:nvSpPr>
        <p:spPr>
          <a:xfrm>
            <a:off x="684256" y="1781890"/>
            <a:ext cx="10020299" cy="4463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ts val="1500"/>
              </a:lnSpc>
              <a:spcBef>
                <a:spcPts val="600"/>
              </a:spcBef>
              <a:spcAft>
                <a:spcPts val="1000"/>
              </a:spcAft>
              <a:buClr>
                <a:srgbClr val="003B4B"/>
              </a:buClr>
              <a:buFont typeface="Wingdings" panose="05000000000000000000" pitchFamily="2" charset="2"/>
              <a:buChar char="Ø"/>
            </a:pPr>
            <a:r>
              <a:rPr lang="pl-PL" sz="2000" dirty="0" smtClean="0">
                <a:solidFill>
                  <a:srgbClr val="003B4B"/>
                </a:solidFill>
              </a:rPr>
              <a:t>Jak nas widzą tak nas piszą – informacje o firmie</a:t>
            </a:r>
          </a:p>
          <a:p>
            <a:pPr marL="342900" indent="-342900" algn="just">
              <a:lnSpc>
                <a:spcPts val="1500"/>
              </a:lnSpc>
              <a:spcBef>
                <a:spcPts val="600"/>
              </a:spcBef>
              <a:spcAft>
                <a:spcPts val="1000"/>
              </a:spcAft>
              <a:buClr>
                <a:srgbClr val="003B4B"/>
              </a:buClr>
              <a:buFont typeface="Wingdings" panose="05000000000000000000" pitchFamily="2" charset="2"/>
              <a:buChar char="Ø"/>
            </a:pPr>
            <a:r>
              <a:rPr lang="pl-PL" sz="2000" dirty="0" smtClean="0">
                <a:solidFill>
                  <a:srgbClr val="003B4B"/>
                </a:solidFill>
              </a:rPr>
              <a:t>Bo bezpieczeństwo jest najważniejsze (Włącz rozum, wyłącz zbędne moce”),</a:t>
            </a:r>
          </a:p>
          <a:p>
            <a:pPr marL="342900" indent="-342900" algn="just">
              <a:lnSpc>
                <a:spcPts val="1500"/>
              </a:lnSpc>
              <a:spcBef>
                <a:spcPts val="600"/>
              </a:spcBef>
              <a:spcAft>
                <a:spcPts val="1000"/>
              </a:spcAft>
              <a:buClr>
                <a:srgbClr val="003B4B"/>
              </a:buClr>
              <a:buFont typeface="Wingdings" panose="05000000000000000000" pitchFamily="2" charset="2"/>
              <a:buChar char="Ø"/>
            </a:pPr>
            <a:r>
              <a:rPr lang="pl-PL" sz="2000" dirty="0" smtClean="0">
                <a:solidFill>
                  <a:srgbClr val="003B4B"/>
                </a:solidFill>
              </a:rPr>
              <a:t>Bo o kasę w tym chodzi, czyli spotkanie z finansami</a:t>
            </a:r>
          </a:p>
          <a:p>
            <a:pPr marL="342900" indent="-342900" algn="just">
              <a:lnSpc>
                <a:spcPts val="1500"/>
              </a:lnSpc>
              <a:spcBef>
                <a:spcPts val="600"/>
              </a:spcBef>
              <a:spcAft>
                <a:spcPts val="1000"/>
              </a:spcAft>
              <a:buClr>
                <a:srgbClr val="003B4B"/>
              </a:buClr>
              <a:buFont typeface="Wingdings" panose="05000000000000000000" pitchFamily="2" charset="2"/>
              <a:buChar char="Ø"/>
            </a:pPr>
            <a:r>
              <a:rPr lang="pl-PL" sz="2000" dirty="0" smtClean="0">
                <a:solidFill>
                  <a:srgbClr val="003B4B"/>
                </a:solidFill>
              </a:rPr>
              <a:t>Jak tworzymy świat miłośników płatków śniadaniowych – spotkanie z marketingiem i sprzedażą</a:t>
            </a:r>
          </a:p>
          <a:p>
            <a:pPr marL="342900" indent="-342900" algn="just">
              <a:lnSpc>
                <a:spcPts val="1500"/>
              </a:lnSpc>
              <a:spcBef>
                <a:spcPts val="600"/>
              </a:spcBef>
              <a:spcAft>
                <a:spcPts val="1000"/>
              </a:spcAft>
              <a:buClr>
                <a:srgbClr val="003B4B"/>
              </a:buClr>
              <a:buFont typeface="Wingdings" panose="05000000000000000000" pitchFamily="2" charset="2"/>
              <a:buChar char="Ø"/>
            </a:pPr>
            <a:r>
              <a:rPr lang="pl-PL" sz="2000" dirty="0" smtClean="0">
                <a:solidFill>
                  <a:srgbClr val="003B4B"/>
                </a:solidFill>
              </a:rPr>
              <a:t>Po nitce do kłębka, czyli Supply </a:t>
            </a:r>
            <a:r>
              <a:rPr lang="pl-PL" sz="2000" dirty="0">
                <a:solidFill>
                  <a:srgbClr val="003B4B"/>
                </a:solidFill>
              </a:rPr>
              <a:t>C</a:t>
            </a:r>
            <a:r>
              <a:rPr lang="pl-PL" sz="2000" dirty="0" smtClean="0">
                <a:solidFill>
                  <a:srgbClr val="003B4B"/>
                </a:solidFill>
              </a:rPr>
              <a:t>hain w pigułce</a:t>
            </a:r>
          </a:p>
          <a:p>
            <a:pPr marL="342900" indent="-342900" algn="just">
              <a:lnSpc>
                <a:spcPts val="1500"/>
              </a:lnSpc>
              <a:spcBef>
                <a:spcPts val="600"/>
              </a:spcBef>
              <a:spcAft>
                <a:spcPts val="1000"/>
              </a:spcAft>
              <a:buClr>
                <a:srgbClr val="003B4B"/>
              </a:buClr>
              <a:buFont typeface="Wingdings" panose="05000000000000000000" pitchFamily="2" charset="2"/>
              <a:buChar char="Ø"/>
            </a:pPr>
            <a:r>
              <a:rPr lang="pl-PL" sz="2000" dirty="0" smtClean="0">
                <a:solidFill>
                  <a:srgbClr val="003B4B"/>
                </a:solidFill>
              </a:rPr>
              <a:t>Nasze płatki pod lupą, czyli słów kilka o jakości i bezpieczeństwie produktu.</a:t>
            </a:r>
          </a:p>
          <a:p>
            <a:pPr marL="342900" indent="-342900" algn="just">
              <a:lnSpc>
                <a:spcPts val="1500"/>
              </a:lnSpc>
              <a:spcBef>
                <a:spcPts val="600"/>
              </a:spcBef>
              <a:spcAft>
                <a:spcPts val="1000"/>
              </a:spcAft>
              <a:buClr>
                <a:srgbClr val="003B4B"/>
              </a:buClr>
              <a:buFont typeface="Wingdings" panose="05000000000000000000" pitchFamily="2" charset="2"/>
              <a:buChar char="Ø"/>
            </a:pPr>
            <a:r>
              <a:rPr lang="pl-PL" sz="2000" dirty="0" smtClean="0">
                <a:solidFill>
                  <a:srgbClr val="003B4B"/>
                </a:solidFill>
              </a:rPr>
              <a:t>„Pracuj mądrzej, nie ciężej”, czyli doskonalenie każdego dnia.</a:t>
            </a:r>
          </a:p>
          <a:p>
            <a:pPr marL="342900" indent="-342900" algn="just">
              <a:lnSpc>
                <a:spcPts val="1500"/>
              </a:lnSpc>
              <a:spcBef>
                <a:spcPts val="600"/>
              </a:spcBef>
              <a:spcAft>
                <a:spcPts val="1000"/>
              </a:spcAft>
              <a:buClr>
                <a:srgbClr val="003B4B"/>
              </a:buClr>
              <a:buFont typeface="Wingdings" panose="05000000000000000000" pitchFamily="2" charset="2"/>
              <a:buChar char="Ø"/>
            </a:pPr>
            <a:r>
              <a:rPr lang="pl-PL" sz="2000" dirty="0" smtClean="0">
                <a:solidFill>
                  <a:srgbClr val="003B4B"/>
                </a:solidFill>
              </a:rPr>
              <a:t>MES – inteligentny system kontroli jakości.</a:t>
            </a:r>
          </a:p>
          <a:p>
            <a:pPr marL="342900" indent="-342900" algn="just">
              <a:lnSpc>
                <a:spcPts val="1500"/>
              </a:lnSpc>
              <a:spcBef>
                <a:spcPts val="600"/>
              </a:spcBef>
              <a:spcAft>
                <a:spcPts val="1000"/>
              </a:spcAft>
              <a:buClr>
                <a:srgbClr val="003B4B"/>
              </a:buClr>
              <a:buFont typeface="Wingdings" panose="05000000000000000000" pitchFamily="2" charset="2"/>
              <a:buChar char="Ø"/>
            </a:pPr>
            <a:r>
              <a:rPr lang="pl-PL" sz="2000" dirty="0" smtClean="0">
                <a:solidFill>
                  <a:srgbClr val="003B4B"/>
                </a:solidFill>
              </a:rPr>
              <a:t>Zarządzanie zmianą oraz procesem</a:t>
            </a:r>
          </a:p>
          <a:p>
            <a:pPr marL="342900" indent="-342900" algn="just">
              <a:lnSpc>
                <a:spcPts val="1500"/>
              </a:lnSpc>
              <a:spcBef>
                <a:spcPts val="600"/>
              </a:spcBef>
              <a:spcAft>
                <a:spcPts val="1000"/>
              </a:spcAft>
              <a:buClr>
                <a:srgbClr val="003B4B"/>
              </a:buClr>
              <a:buFont typeface="Wingdings" panose="05000000000000000000" pitchFamily="2" charset="2"/>
              <a:buChar char="Ø"/>
            </a:pPr>
            <a:r>
              <a:rPr lang="pl-PL" sz="2000" dirty="0" smtClean="0">
                <a:solidFill>
                  <a:srgbClr val="003B4B"/>
                </a:solidFill>
              </a:rPr>
              <a:t>Zarządzanie kryzysowe</a:t>
            </a:r>
          </a:p>
          <a:p>
            <a:pPr marL="342900" indent="-342900" algn="just">
              <a:lnSpc>
                <a:spcPts val="1500"/>
              </a:lnSpc>
              <a:spcBef>
                <a:spcPts val="600"/>
              </a:spcBef>
              <a:spcAft>
                <a:spcPts val="1000"/>
              </a:spcAft>
              <a:buClr>
                <a:srgbClr val="003B4B"/>
              </a:buClr>
              <a:buFont typeface="Wingdings" panose="05000000000000000000" pitchFamily="2" charset="2"/>
              <a:buChar char="Ø"/>
            </a:pPr>
            <a:r>
              <a:rPr lang="pl-PL" sz="2000" dirty="0" smtClean="0">
                <a:solidFill>
                  <a:srgbClr val="003B4B"/>
                </a:solidFill>
              </a:rPr>
              <a:t>Bo bez pracy nie ma kołaczy, czyli prawa człowieka i prawo pracy.</a:t>
            </a:r>
            <a:endParaRPr lang="en-US" sz="2000" dirty="0">
              <a:solidFill>
                <a:srgbClr val="003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3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4e3bb7f2457aaf30d7dcac81f0d89e7da48ce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3">
      <a:dk1>
        <a:srgbClr val="003D4C"/>
      </a:dk1>
      <a:lt1>
        <a:srgbClr val="FFFFFF"/>
      </a:lt1>
      <a:dk2>
        <a:srgbClr val="003765"/>
      </a:dk2>
      <a:lt2>
        <a:srgbClr val="FFFFFF"/>
      </a:lt2>
      <a:accent1>
        <a:srgbClr val="5FB4E6"/>
      </a:accent1>
      <a:accent2>
        <a:srgbClr val="7A9A01"/>
      </a:accent2>
      <a:accent3>
        <a:srgbClr val="688E9D"/>
      </a:accent3>
      <a:accent4>
        <a:srgbClr val="EE7721"/>
      </a:accent4>
      <a:accent5>
        <a:srgbClr val="98252B"/>
      </a:accent5>
      <a:accent6>
        <a:srgbClr val="FFB716"/>
      </a:accent6>
      <a:hlink>
        <a:srgbClr val="0563C1"/>
      </a:hlink>
      <a:folHlink>
        <a:srgbClr val="954F72"/>
      </a:folHlink>
    </a:clrScheme>
    <a:fontScheme name="CPW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23">
      <a:dk1>
        <a:srgbClr val="003D4C"/>
      </a:dk1>
      <a:lt1>
        <a:srgbClr val="FFFFFF"/>
      </a:lt1>
      <a:dk2>
        <a:srgbClr val="003765"/>
      </a:dk2>
      <a:lt2>
        <a:srgbClr val="FFFFFF"/>
      </a:lt2>
      <a:accent1>
        <a:srgbClr val="5FB4E6"/>
      </a:accent1>
      <a:accent2>
        <a:srgbClr val="7A9A01"/>
      </a:accent2>
      <a:accent3>
        <a:srgbClr val="688E9D"/>
      </a:accent3>
      <a:accent4>
        <a:srgbClr val="EE7721"/>
      </a:accent4>
      <a:accent5>
        <a:srgbClr val="98252B"/>
      </a:accent5>
      <a:accent6>
        <a:srgbClr val="FFB716"/>
      </a:accent6>
      <a:hlink>
        <a:srgbClr val="0563C1"/>
      </a:hlink>
      <a:folHlink>
        <a:srgbClr val="954F72"/>
      </a:folHlink>
    </a:clrScheme>
    <a:fontScheme name="CPW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E47C45AB970AD43BC90755FEC613689" ma:contentTypeVersion="1" ma:contentTypeDescription="Create a new document." ma:contentTypeScope="" ma:versionID="9afb396252135c6cf42a573a993caa23">
  <xsd:schema xmlns:xsd="http://www.w3.org/2001/XMLSchema" xmlns:p="http://schemas.microsoft.com/office/2006/metadata/properties" xmlns:ns2="3ac56b88-e933-4838-868d-000f47b7afa7" targetNamespace="http://schemas.microsoft.com/office/2006/metadata/properties" ma:root="true" ma:fieldsID="8b2322271688a28389cff6ac9ee19d57" ns2:_="">
    <xsd:import namespace="3ac56b88-e933-4838-868d-000f47b7afa7"/>
    <xsd:element name="properties">
      <xsd:complexType>
        <xsd:sequence>
          <xsd:element name="documentManagement">
            <xsd:complexType>
              <xsd:all>
                <xsd:element ref="ns2:Info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3ac56b88-e933-4838-868d-000f47b7afa7" elementFormDefault="qualified">
    <xsd:import namespace="http://schemas.microsoft.com/office/2006/documentManagement/types"/>
    <xsd:element name="Info" ma:index="8" nillable="true" ma:displayName="Info" ma:internalName="Info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nfo xmlns="3ac56b88-e933-4838-868d-000f47b7afa7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2FF2D84-0ECA-421B-9E51-F7E5C38E69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ac56b88-e933-4838-868d-000f47b7afa7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AF389280-648C-4D50-8101-F84C0952B630}">
  <ds:schemaRefs>
    <ds:schemaRef ds:uri="http://purl.org/dc/terms/"/>
    <ds:schemaRef ds:uri="3ac56b88-e933-4838-868d-000f47b7afa7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2006/metadata/properties"/>
    <ds:schemaRef ds:uri="http://www.w3.org/XML/1998/namespace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AD07B63-9CA0-4536-A8B6-A9037DAF05A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435</TotalTime>
  <Words>409</Words>
  <Application>Microsoft Office PowerPoint</Application>
  <PresentationFormat>Panoramiczny</PresentationFormat>
  <Paragraphs>51</Paragraphs>
  <Slides>12</Slides>
  <Notes>3</Notes>
  <HiddenSlides>0</HiddenSlides>
  <MMClips>0</MMClips>
  <ScaleCrop>false</ScaleCrop>
  <HeadingPairs>
    <vt:vector size="8" baseType="variant">
      <vt:variant>
        <vt:lpstr>Używane czcionki</vt:lpstr>
      </vt:variant>
      <vt:variant>
        <vt:i4>4</vt:i4>
      </vt:variant>
      <vt:variant>
        <vt:lpstr>Motyw</vt:lpstr>
      </vt:variant>
      <vt:variant>
        <vt:i4>2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2</vt:i4>
      </vt:variant>
    </vt:vector>
  </HeadingPairs>
  <TitlesOfParts>
    <vt:vector size="19" baseType="lpstr">
      <vt:lpstr>Arial</vt:lpstr>
      <vt:lpstr>Calibri</vt:lpstr>
      <vt:lpstr>Trebuchet MS</vt:lpstr>
      <vt:lpstr>Wingdings</vt:lpstr>
      <vt:lpstr>Office Theme</vt:lpstr>
      <vt:lpstr>1_Office Theme</vt:lpstr>
      <vt:lpstr>think-cell Slide</vt:lpstr>
      <vt:lpstr>Youth Employment and Training Initiative edycja 2017</vt:lpstr>
      <vt:lpstr>Prezentacja programu PowerPoint</vt:lpstr>
      <vt:lpstr>Prezentacja programu PowerPoint</vt:lpstr>
      <vt:lpstr>Idea i cele warsztatów  YES 4 YETI</vt:lpstr>
      <vt:lpstr>Prezentacja programu PowerPoint</vt:lpstr>
      <vt:lpstr>Cele warsztatów</vt:lpstr>
      <vt:lpstr>Przykładowy Harmonogram YES 4 YETI</vt:lpstr>
      <vt:lpstr>Informacje szczegółowe  na temat warsztatów </vt:lpstr>
      <vt:lpstr>Tematyka warsztatów</vt:lpstr>
      <vt:lpstr>Podstawowe informacje o Firmie Cereal Partners Poland Toruń-Pacific</vt:lpstr>
      <vt:lpstr>Cereal Partners Poland Toruń-Pacific</vt:lpstr>
      <vt:lpstr>Dziękujemy za uwagę!  Do zobaczenia na warsztatach! 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PW Corporate PowerPoint Presentation</dc:title>
  <dc:creator>Melanie Beer</dc:creator>
  <cp:lastModifiedBy>Goljat,Karolina,TORUN,HR</cp:lastModifiedBy>
  <cp:revision>276</cp:revision>
  <cp:lastPrinted>2016-03-01T14:45:07Z</cp:lastPrinted>
  <dcterms:created xsi:type="dcterms:W3CDTF">2015-04-24T09:23:19Z</dcterms:created>
  <dcterms:modified xsi:type="dcterms:W3CDTF">2016-11-23T13:0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47C45AB970AD43BC90755FEC613689</vt:lpwstr>
  </property>
  <property fmtid="{D5CDD505-2E9C-101B-9397-08002B2CF9AE}" pid="3" name="_dlc_DocIdItemGuid">
    <vt:lpwstr>edfbd7d7-a478-4c78-b248-a5ca83af46a4</vt:lpwstr>
  </property>
  <property fmtid="{D5CDD505-2E9C-101B-9397-08002B2CF9AE}" pid="4" name="_dlc_DocId">
    <vt:lpwstr>THKC6DF5TXVP-15-135</vt:lpwstr>
  </property>
  <property fmtid="{D5CDD505-2E9C-101B-9397-08002B2CF9AE}" pid="5" name="_dlc_DocIdUrl">
    <vt:lpwstr>http://thenest-eur-cpwhq.nestle.com/CI/_layouts/DocIdRedir.aspx?ID=THKC6DF5TXVP-15-135THKC6DF5TXVP-15-135</vt:lpwstr>
  </property>
</Properties>
</file>